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257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E404F7B-7766-DE5C-B396-D2BCE1736E67}" name="Sigrid Normann Biener" initials="SNB" userId="S::sibi@ramboll.com::b620da99-99a5-4930-9840-1ebbe6b5a720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0BE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E63B31C-CF8F-40CD-8EBC-0DFE7E64605D}" v="15" dt="2023-03-27T12:12:05.0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3" d="100"/>
          <a:sy n="63" d="100"/>
        </p:scale>
        <p:origin x="72" y="28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microsoft.com/office/2018/10/relationships/authors" Target="authors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da-Lina Nyholm" userId="f663490f-cbf2-41f8-bb49-c58f7446a177" providerId="ADAL" clId="{8E63B31C-CF8F-40CD-8EBC-0DFE7E64605D}"/>
    <pc:docChg chg="undo custSel modSld">
      <pc:chgData name="Ida-Lina Nyholm" userId="f663490f-cbf2-41f8-bb49-c58f7446a177" providerId="ADAL" clId="{8E63B31C-CF8F-40CD-8EBC-0DFE7E64605D}" dt="2023-03-27T12:12:05.014" v="11" actId="207"/>
      <pc:docMkLst>
        <pc:docMk/>
      </pc:docMkLst>
      <pc:sldChg chg="addSp delSp modSp mod">
        <pc:chgData name="Ida-Lina Nyholm" userId="f663490f-cbf2-41f8-bb49-c58f7446a177" providerId="ADAL" clId="{8E63B31C-CF8F-40CD-8EBC-0DFE7E64605D}" dt="2023-03-27T12:12:05.014" v="11" actId="207"/>
        <pc:sldMkLst>
          <pc:docMk/>
          <pc:sldMk cId="3797582595" sldId="257"/>
        </pc:sldMkLst>
        <pc:spChg chg="del">
          <ac:chgData name="Ida-Lina Nyholm" userId="f663490f-cbf2-41f8-bb49-c58f7446a177" providerId="ADAL" clId="{8E63B31C-CF8F-40CD-8EBC-0DFE7E64605D}" dt="2023-03-27T12:09:44.612" v="3" actId="478"/>
          <ac:spMkLst>
            <pc:docMk/>
            <pc:sldMk cId="3797582595" sldId="257"/>
            <ac:spMk id="4" creationId="{25B30A95-5AF9-4BF2-ABC5-A5B2142E08B0}"/>
          </ac:spMkLst>
        </pc:spChg>
        <pc:spChg chg="mod">
          <ac:chgData name="Ida-Lina Nyholm" userId="f663490f-cbf2-41f8-bb49-c58f7446a177" providerId="ADAL" clId="{8E63B31C-CF8F-40CD-8EBC-0DFE7E64605D}" dt="2023-03-27T12:12:05.014" v="11" actId="207"/>
          <ac:spMkLst>
            <pc:docMk/>
            <pc:sldMk cId="3797582595" sldId="257"/>
            <ac:spMk id="76" creationId="{82F4AAD2-4882-4C0B-B804-5CD6127A210C}"/>
          </ac:spMkLst>
        </pc:spChg>
        <pc:graphicFrameChg chg="mod modGraphic">
          <ac:chgData name="Ida-Lina Nyholm" userId="f663490f-cbf2-41f8-bb49-c58f7446a177" providerId="ADAL" clId="{8E63B31C-CF8F-40CD-8EBC-0DFE7E64605D}" dt="2023-03-27T12:11:59.850" v="10" actId="1076"/>
          <ac:graphicFrameMkLst>
            <pc:docMk/>
            <pc:sldMk cId="3797582595" sldId="257"/>
            <ac:graphicFrameMk id="75" creationId="{169443BC-BA51-4601-BBC8-5962198FFBD2}"/>
          </ac:graphicFrameMkLst>
        </pc:graphicFrameChg>
        <pc:picChg chg="add mod">
          <ac:chgData name="Ida-Lina Nyholm" userId="f663490f-cbf2-41f8-bb49-c58f7446a177" providerId="ADAL" clId="{8E63B31C-CF8F-40CD-8EBC-0DFE7E64605D}" dt="2023-03-27T12:09:52" v="4" actId="1076"/>
          <ac:picMkLst>
            <pc:docMk/>
            <pc:sldMk cId="3797582595" sldId="257"/>
            <ac:picMk id="3" creationId="{3128E7CB-1C37-4949-A8E6-240E856F48A6}"/>
          </ac:picMkLst>
        </pc:picChg>
        <pc:picChg chg="del">
          <ac:chgData name="Ida-Lina Nyholm" userId="f663490f-cbf2-41f8-bb49-c58f7446a177" providerId="ADAL" clId="{8E63B31C-CF8F-40CD-8EBC-0DFE7E64605D}" dt="2023-03-27T12:07:27.466" v="0" actId="478"/>
          <ac:picMkLst>
            <pc:docMk/>
            <pc:sldMk cId="3797582595" sldId="257"/>
            <ac:picMk id="97" creationId="{B37792AF-11A8-4DBF-87A9-985B03640004}"/>
          </ac:picMkLst>
        </pc:picChg>
      </pc:sldChg>
    </pc:docChg>
  </pc:docChgLst>
  <pc:docChgLst>
    <pc:chgData name="Sigrid Normann Biener" userId="b620da99-99a5-4930-9840-1ebbe6b5a720" providerId="ADAL" clId="{FF39F515-C250-4259-B171-B1F915772C28}"/>
    <pc:docChg chg="undo custSel addSld delSld modSld modMainMaster replTag">
      <pc:chgData name="Sigrid Normann Biener" userId="b620da99-99a5-4930-9840-1ebbe6b5a720" providerId="ADAL" clId="{FF39F515-C250-4259-B171-B1F915772C28}" dt="2022-11-28T08:38:18.394" v="1268"/>
      <pc:docMkLst>
        <pc:docMk/>
      </pc:docMkLst>
      <pc:sldChg chg="addSp delSp modSp mod delCm">
        <pc:chgData name="Sigrid Normann Biener" userId="b620da99-99a5-4930-9840-1ebbe6b5a720" providerId="ADAL" clId="{FF39F515-C250-4259-B171-B1F915772C28}" dt="2022-11-28T08:38:18.394" v="1268"/>
        <pc:sldMkLst>
          <pc:docMk/>
          <pc:sldMk cId="3797582595" sldId="257"/>
        </pc:sldMkLst>
        <pc:spChg chg="add del">
          <ac:chgData name="Sigrid Normann Biener" userId="b620da99-99a5-4930-9840-1ebbe6b5a720" providerId="ADAL" clId="{FF39F515-C250-4259-B171-B1F915772C28}" dt="2022-11-28T08:17:47.197" v="179"/>
          <ac:spMkLst>
            <pc:docMk/>
            <pc:sldMk cId="3797582595" sldId="257"/>
            <ac:spMk id="2" creationId="{99C5CDCA-DB7B-4279-8373-F435DF519D03}"/>
          </ac:spMkLst>
        </pc:spChg>
        <pc:spChg chg="add del">
          <ac:chgData name="Sigrid Normann Biener" userId="b620da99-99a5-4930-9840-1ebbe6b5a720" providerId="ADAL" clId="{FF39F515-C250-4259-B171-B1F915772C28}" dt="2022-11-28T08:17:47.197" v="179"/>
          <ac:spMkLst>
            <pc:docMk/>
            <pc:sldMk cId="3797582595" sldId="257"/>
            <ac:spMk id="3" creationId="{ACE1469B-4059-4118-9AB0-3D2497DC6219}"/>
          </ac:spMkLst>
        </pc:spChg>
        <pc:spChg chg="mod ord">
          <ac:chgData name="Sigrid Normann Biener" userId="b620da99-99a5-4930-9840-1ebbe6b5a720" providerId="ADAL" clId="{FF39F515-C250-4259-B171-B1F915772C28}" dt="2022-11-28T08:37:43.376" v="1256"/>
          <ac:spMkLst>
            <pc:docMk/>
            <pc:sldMk cId="3797582595" sldId="257"/>
            <ac:spMk id="4" creationId="{25B30A95-5AF9-4BF2-ABC5-A5B2142E08B0}"/>
          </ac:spMkLst>
        </pc:spChg>
        <pc:spChg chg="add del mod modVis">
          <ac:chgData name="Sigrid Normann Biener" userId="b620da99-99a5-4930-9840-1ebbe6b5a720" providerId="ADAL" clId="{FF39F515-C250-4259-B171-B1F915772C28}" dt="2022-11-28T08:26:52.911" v="985"/>
          <ac:spMkLst>
            <pc:docMk/>
            <pc:sldMk cId="3797582595" sldId="257"/>
            <ac:spMk id="5" creationId="{1B88B53C-FD60-4F8C-9E67-A04C5B7FC662}"/>
          </ac:spMkLst>
        </pc:spChg>
        <pc:spChg chg="del mod">
          <ac:chgData name="Sigrid Normann Biener" userId="b620da99-99a5-4930-9840-1ebbe6b5a720" providerId="ADAL" clId="{FF39F515-C250-4259-B171-B1F915772C28}" dt="2022-11-28T08:36:56.600" v="1179"/>
          <ac:spMkLst>
            <pc:docMk/>
            <pc:sldMk cId="3797582595" sldId="257"/>
            <ac:spMk id="9" creationId="{B1F4FC3F-BDB8-4EC3-B79C-F8C02D11487B}"/>
          </ac:spMkLst>
        </pc:spChg>
        <pc:spChg chg="del mod">
          <ac:chgData name="Sigrid Normann Biener" userId="b620da99-99a5-4930-9840-1ebbe6b5a720" providerId="ADAL" clId="{FF39F515-C250-4259-B171-B1F915772C28}" dt="2022-11-28T08:36:56.596" v="1174"/>
          <ac:spMkLst>
            <pc:docMk/>
            <pc:sldMk cId="3797582595" sldId="257"/>
            <ac:spMk id="11" creationId="{B5080C84-B6A7-4B23-9654-42BE526A85C1}"/>
          </ac:spMkLst>
        </pc:spChg>
        <pc:spChg chg="del mod">
          <ac:chgData name="Sigrid Normann Biener" userId="b620da99-99a5-4930-9840-1ebbe6b5a720" providerId="ADAL" clId="{FF39F515-C250-4259-B171-B1F915772C28}" dt="2022-11-28T08:36:56.594" v="1169"/>
          <ac:spMkLst>
            <pc:docMk/>
            <pc:sldMk cId="3797582595" sldId="257"/>
            <ac:spMk id="12" creationId="{59F643F0-DAFD-42C8-A0A9-CD9E70D080B2}"/>
          </ac:spMkLst>
        </pc:spChg>
        <pc:spChg chg="del mod">
          <ac:chgData name="Sigrid Normann Biener" userId="b620da99-99a5-4930-9840-1ebbe6b5a720" providerId="ADAL" clId="{FF39F515-C250-4259-B171-B1F915772C28}" dt="2022-11-28T08:36:56.593" v="1168"/>
          <ac:spMkLst>
            <pc:docMk/>
            <pc:sldMk cId="3797582595" sldId="257"/>
            <ac:spMk id="13" creationId="{C3D608F6-BA4F-4CF2-8F03-1835B3879F0A}"/>
          </ac:spMkLst>
        </pc:spChg>
        <pc:spChg chg="del mod">
          <ac:chgData name="Sigrid Normann Biener" userId="b620da99-99a5-4930-9840-1ebbe6b5a720" providerId="ADAL" clId="{FF39F515-C250-4259-B171-B1F915772C28}" dt="2022-11-28T08:36:56.591" v="1165"/>
          <ac:spMkLst>
            <pc:docMk/>
            <pc:sldMk cId="3797582595" sldId="257"/>
            <ac:spMk id="14" creationId="{6A861D91-FDCC-464E-929E-D84F448FF599}"/>
          </ac:spMkLst>
        </pc:spChg>
        <pc:spChg chg="del mod">
          <ac:chgData name="Sigrid Normann Biener" userId="b620da99-99a5-4930-9840-1ebbe6b5a720" providerId="ADAL" clId="{FF39F515-C250-4259-B171-B1F915772C28}" dt="2022-11-28T08:36:56.591" v="1164"/>
          <ac:spMkLst>
            <pc:docMk/>
            <pc:sldMk cId="3797582595" sldId="257"/>
            <ac:spMk id="15" creationId="{6341F4A2-9693-4D15-9B98-EEE769660FA9}"/>
          </ac:spMkLst>
        </pc:spChg>
        <pc:spChg chg="del mod">
          <ac:chgData name="Sigrid Normann Biener" userId="b620da99-99a5-4930-9840-1ebbe6b5a720" providerId="ADAL" clId="{FF39F515-C250-4259-B171-B1F915772C28}" dt="2022-11-28T08:36:56.603" v="1185"/>
          <ac:spMkLst>
            <pc:docMk/>
            <pc:sldMk cId="3797582595" sldId="257"/>
            <ac:spMk id="16" creationId="{9E9CBBA3-694F-4A9C-AAB7-963BCD8D0E7D}"/>
          </ac:spMkLst>
        </pc:spChg>
        <pc:spChg chg="del mod">
          <ac:chgData name="Sigrid Normann Biener" userId="b620da99-99a5-4930-9840-1ebbe6b5a720" providerId="ADAL" clId="{FF39F515-C250-4259-B171-B1F915772C28}" dt="2022-11-28T08:36:56.610" v="1204"/>
          <ac:spMkLst>
            <pc:docMk/>
            <pc:sldMk cId="3797582595" sldId="257"/>
            <ac:spMk id="19" creationId="{28EAA275-12D3-4944-A021-872AFFF43C18}"/>
          </ac:spMkLst>
        </pc:spChg>
        <pc:spChg chg="del mod">
          <ac:chgData name="Sigrid Normann Biener" userId="b620da99-99a5-4930-9840-1ebbe6b5a720" providerId="ADAL" clId="{FF39F515-C250-4259-B171-B1F915772C28}" dt="2022-11-28T08:36:56.610" v="1203"/>
          <ac:spMkLst>
            <pc:docMk/>
            <pc:sldMk cId="3797582595" sldId="257"/>
            <ac:spMk id="20" creationId="{94AF5AF0-74B0-4149-AA51-7FC989BB5ABD}"/>
          </ac:spMkLst>
        </pc:spChg>
        <pc:spChg chg="del mod">
          <ac:chgData name="Sigrid Normann Biener" userId="b620da99-99a5-4930-9840-1ebbe6b5a720" providerId="ADAL" clId="{FF39F515-C250-4259-B171-B1F915772C28}" dt="2022-11-28T08:36:56.609" v="1202"/>
          <ac:spMkLst>
            <pc:docMk/>
            <pc:sldMk cId="3797582595" sldId="257"/>
            <ac:spMk id="21" creationId="{E3D9E610-75D4-453F-842F-DDBC138AF067}"/>
          </ac:spMkLst>
        </pc:spChg>
        <pc:spChg chg="del mod">
          <ac:chgData name="Sigrid Normann Biener" userId="b620da99-99a5-4930-9840-1ebbe6b5a720" providerId="ADAL" clId="{FF39F515-C250-4259-B171-B1F915772C28}" dt="2022-11-28T08:36:56.609" v="1201"/>
          <ac:spMkLst>
            <pc:docMk/>
            <pc:sldMk cId="3797582595" sldId="257"/>
            <ac:spMk id="22" creationId="{AE1670B5-3C41-4CE8-967E-6158BB1EB796}"/>
          </ac:spMkLst>
        </pc:spChg>
        <pc:spChg chg="del mod">
          <ac:chgData name="Sigrid Normann Biener" userId="b620da99-99a5-4930-9840-1ebbe6b5a720" providerId="ADAL" clId="{FF39F515-C250-4259-B171-B1F915772C28}" dt="2022-11-28T08:36:56.609" v="1200"/>
          <ac:spMkLst>
            <pc:docMk/>
            <pc:sldMk cId="3797582595" sldId="257"/>
            <ac:spMk id="23" creationId="{BCE8EC72-A414-4056-9BB5-5A0C66646044}"/>
          </ac:spMkLst>
        </pc:spChg>
        <pc:spChg chg="del mod">
          <ac:chgData name="Sigrid Normann Biener" userId="b620da99-99a5-4930-9840-1ebbe6b5a720" providerId="ADAL" clId="{FF39F515-C250-4259-B171-B1F915772C28}" dt="2022-11-28T08:36:56.608" v="1199"/>
          <ac:spMkLst>
            <pc:docMk/>
            <pc:sldMk cId="3797582595" sldId="257"/>
            <ac:spMk id="24" creationId="{A70D2CF1-897E-4D6B-9C5A-63683C4CDFA7}"/>
          </ac:spMkLst>
        </pc:spChg>
        <pc:spChg chg="del mod">
          <ac:chgData name="Sigrid Normann Biener" userId="b620da99-99a5-4930-9840-1ebbe6b5a720" providerId="ADAL" clId="{FF39F515-C250-4259-B171-B1F915772C28}" dt="2022-11-28T08:36:56.608" v="1198"/>
          <ac:spMkLst>
            <pc:docMk/>
            <pc:sldMk cId="3797582595" sldId="257"/>
            <ac:spMk id="25" creationId="{551FC472-BE5F-4BF2-A07F-B143D88B7FB7}"/>
          </ac:spMkLst>
        </pc:spChg>
        <pc:spChg chg="del mod">
          <ac:chgData name="Sigrid Normann Biener" userId="b620da99-99a5-4930-9840-1ebbe6b5a720" providerId="ADAL" clId="{FF39F515-C250-4259-B171-B1F915772C28}" dt="2022-11-28T08:36:56.608" v="1197"/>
          <ac:spMkLst>
            <pc:docMk/>
            <pc:sldMk cId="3797582595" sldId="257"/>
            <ac:spMk id="26" creationId="{64C38457-A1B3-45B8-9FDE-985E6828FE33}"/>
          </ac:spMkLst>
        </pc:spChg>
        <pc:spChg chg="del mod">
          <ac:chgData name="Sigrid Normann Biener" userId="b620da99-99a5-4930-9840-1ebbe6b5a720" providerId="ADAL" clId="{FF39F515-C250-4259-B171-B1F915772C28}" dt="2022-11-28T08:36:56.607" v="1196"/>
          <ac:spMkLst>
            <pc:docMk/>
            <pc:sldMk cId="3797582595" sldId="257"/>
            <ac:spMk id="27" creationId="{E47C2347-E920-4882-8861-977C194DEF78}"/>
          </ac:spMkLst>
        </pc:spChg>
        <pc:spChg chg="del mod">
          <ac:chgData name="Sigrid Normann Biener" userId="b620da99-99a5-4930-9840-1ebbe6b5a720" providerId="ADAL" clId="{FF39F515-C250-4259-B171-B1F915772C28}" dt="2022-11-28T08:36:56.607" v="1195"/>
          <ac:spMkLst>
            <pc:docMk/>
            <pc:sldMk cId="3797582595" sldId="257"/>
            <ac:spMk id="28" creationId="{6A3D45A5-85FD-4095-84A2-49DA2D4812DF}"/>
          </ac:spMkLst>
        </pc:spChg>
        <pc:spChg chg="del mod">
          <ac:chgData name="Sigrid Normann Biener" userId="b620da99-99a5-4930-9840-1ebbe6b5a720" providerId="ADAL" clId="{FF39F515-C250-4259-B171-B1F915772C28}" dt="2022-11-28T08:36:56.607" v="1194"/>
          <ac:spMkLst>
            <pc:docMk/>
            <pc:sldMk cId="3797582595" sldId="257"/>
            <ac:spMk id="29" creationId="{166309F7-9A43-421A-81AF-B0687A8CB48A}"/>
          </ac:spMkLst>
        </pc:spChg>
        <pc:spChg chg="del mod">
          <ac:chgData name="Sigrid Normann Biener" userId="b620da99-99a5-4930-9840-1ebbe6b5a720" providerId="ADAL" clId="{FF39F515-C250-4259-B171-B1F915772C28}" dt="2022-11-28T08:36:56.607" v="1193"/>
          <ac:spMkLst>
            <pc:docMk/>
            <pc:sldMk cId="3797582595" sldId="257"/>
            <ac:spMk id="30" creationId="{D244FDD4-8F4F-4B83-8B71-D691E68BB010}"/>
          </ac:spMkLst>
        </pc:spChg>
        <pc:spChg chg="del mod">
          <ac:chgData name="Sigrid Normann Biener" userId="b620da99-99a5-4930-9840-1ebbe6b5a720" providerId="ADAL" clId="{FF39F515-C250-4259-B171-B1F915772C28}" dt="2022-11-28T08:36:56.606" v="1192"/>
          <ac:spMkLst>
            <pc:docMk/>
            <pc:sldMk cId="3797582595" sldId="257"/>
            <ac:spMk id="31" creationId="{BA88BBA1-D00C-4268-9C6E-713B18119D67}"/>
          </ac:spMkLst>
        </pc:spChg>
        <pc:spChg chg="del mod">
          <ac:chgData name="Sigrid Normann Biener" userId="b620da99-99a5-4930-9840-1ebbe6b5a720" providerId="ADAL" clId="{FF39F515-C250-4259-B171-B1F915772C28}" dt="2022-11-28T08:36:56.606" v="1191"/>
          <ac:spMkLst>
            <pc:docMk/>
            <pc:sldMk cId="3797582595" sldId="257"/>
            <ac:spMk id="32" creationId="{C99FFAD5-56C3-4F3F-B1BB-A4152366479C}"/>
          </ac:spMkLst>
        </pc:spChg>
        <pc:spChg chg="del mod">
          <ac:chgData name="Sigrid Normann Biener" userId="b620da99-99a5-4930-9840-1ebbe6b5a720" providerId="ADAL" clId="{FF39F515-C250-4259-B171-B1F915772C28}" dt="2022-11-28T08:36:56.605" v="1190"/>
          <ac:spMkLst>
            <pc:docMk/>
            <pc:sldMk cId="3797582595" sldId="257"/>
            <ac:spMk id="33" creationId="{6B4CCF64-5739-411D-A93B-356836C1414E}"/>
          </ac:spMkLst>
        </pc:spChg>
        <pc:spChg chg="del mod">
          <ac:chgData name="Sigrid Normann Biener" userId="b620da99-99a5-4930-9840-1ebbe6b5a720" providerId="ADAL" clId="{FF39F515-C250-4259-B171-B1F915772C28}" dt="2022-11-28T08:36:56.605" v="1189"/>
          <ac:spMkLst>
            <pc:docMk/>
            <pc:sldMk cId="3797582595" sldId="257"/>
            <ac:spMk id="34" creationId="{08B75A59-2D19-470C-9708-BCA0DC78C84A}"/>
          </ac:spMkLst>
        </pc:spChg>
        <pc:spChg chg="del mod">
          <ac:chgData name="Sigrid Normann Biener" userId="b620da99-99a5-4930-9840-1ebbe6b5a720" providerId="ADAL" clId="{FF39F515-C250-4259-B171-B1F915772C28}" dt="2022-11-28T08:36:56.604" v="1188"/>
          <ac:spMkLst>
            <pc:docMk/>
            <pc:sldMk cId="3797582595" sldId="257"/>
            <ac:spMk id="35" creationId="{63D989E4-BF71-4FB6-98F1-C0E716B6BB9C}"/>
          </ac:spMkLst>
        </pc:spChg>
        <pc:spChg chg="del mod">
          <ac:chgData name="Sigrid Normann Biener" userId="b620da99-99a5-4930-9840-1ebbe6b5a720" providerId="ADAL" clId="{FF39F515-C250-4259-B171-B1F915772C28}" dt="2022-11-28T08:36:56.604" v="1187"/>
          <ac:spMkLst>
            <pc:docMk/>
            <pc:sldMk cId="3797582595" sldId="257"/>
            <ac:spMk id="36" creationId="{164808DD-36C0-4B05-B83D-04F3824F8D14}"/>
          </ac:spMkLst>
        </pc:spChg>
        <pc:spChg chg="del mod">
          <ac:chgData name="Sigrid Normann Biener" userId="b620da99-99a5-4930-9840-1ebbe6b5a720" providerId="ADAL" clId="{FF39F515-C250-4259-B171-B1F915772C28}" dt="2022-11-28T08:36:56.603" v="1186"/>
          <ac:spMkLst>
            <pc:docMk/>
            <pc:sldMk cId="3797582595" sldId="257"/>
            <ac:spMk id="37" creationId="{16C5A424-3E9A-422A-95F9-DCAF1EDB053A}"/>
          </ac:spMkLst>
        </pc:spChg>
        <pc:spChg chg="del mod ord">
          <ac:chgData name="Sigrid Normann Biener" userId="b620da99-99a5-4930-9840-1ebbe6b5a720" providerId="ADAL" clId="{FF39F515-C250-4259-B171-B1F915772C28}" dt="2022-11-28T08:36:56.599" v="1178"/>
          <ac:spMkLst>
            <pc:docMk/>
            <pc:sldMk cId="3797582595" sldId="257"/>
            <ac:spMk id="41" creationId="{0978E5C9-B3FB-4373-B95F-10F8FB3C0D58}"/>
          </ac:spMkLst>
        </pc:spChg>
        <pc:spChg chg="del mod ord">
          <ac:chgData name="Sigrid Normann Biener" userId="b620da99-99a5-4930-9840-1ebbe6b5a720" providerId="ADAL" clId="{FF39F515-C250-4259-B171-B1F915772C28}" dt="2022-11-28T08:36:56.598" v="1176"/>
          <ac:spMkLst>
            <pc:docMk/>
            <pc:sldMk cId="3797582595" sldId="257"/>
            <ac:spMk id="42" creationId="{BA1C997D-F38D-48FD-8907-14FEE159CB9A}"/>
          </ac:spMkLst>
        </pc:spChg>
        <pc:spChg chg="add del mod replST">
          <ac:chgData name="Sigrid Normann Biener" userId="b620da99-99a5-4930-9840-1ebbe6b5a720" providerId="ADAL" clId="{FF39F515-C250-4259-B171-B1F915772C28}" dt="2022-11-28T08:26:52.834" v="724"/>
          <ac:spMkLst>
            <pc:docMk/>
            <pc:sldMk cId="3797582595" sldId="257"/>
            <ac:spMk id="65" creationId="{67499A08-E3F6-414D-97CC-1BAD0535CFAC}"/>
          </ac:spMkLst>
        </pc:spChg>
        <pc:spChg chg="add del mod replST">
          <ac:chgData name="Sigrid Normann Biener" userId="b620da99-99a5-4930-9840-1ebbe6b5a720" providerId="ADAL" clId="{FF39F515-C250-4259-B171-B1F915772C28}" dt="2022-11-28T08:26:52.835" v="725"/>
          <ac:spMkLst>
            <pc:docMk/>
            <pc:sldMk cId="3797582595" sldId="257"/>
            <ac:spMk id="66" creationId="{A83AC33A-5C1F-4640-9CA7-05B82D0C31D4}"/>
          </ac:spMkLst>
        </pc:spChg>
        <pc:spChg chg="add del mod replST">
          <ac:chgData name="Sigrid Normann Biener" userId="b620da99-99a5-4930-9840-1ebbe6b5a720" providerId="ADAL" clId="{FF39F515-C250-4259-B171-B1F915772C28}" dt="2022-11-28T08:26:52.835" v="726"/>
          <ac:spMkLst>
            <pc:docMk/>
            <pc:sldMk cId="3797582595" sldId="257"/>
            <ac:spMk id="67" creationId="{7E8C1FE4-5B94-490A-B160-4DC9C138E2EE}"/>
          </ac:spMkLst>
        </pc:spChg>
        <pc:spChg chg="add del mod replST">
          <ac:chgData name="Sigrid Normann Biener" userId="b620da99-99a5-4930-9840-1ebbe6b5a720" providerId="ADAL" clId="{FF39F515-C250-4259-B171-B1F915772C28}" dt="2022-11-28T08:26:52.836" v="727"/>
          <ac:spMkLst>
            <pc:docMk/>
            <pc:sldMk cId="3797582595" sldId="257"/>
            <ac:spMk id="68" creationId="{5181D5ED-DC61-4E12-9DA0-371BD157D708}"/>
          </ac:spMkLst>
        </pc:spChg>
        <pc:spChg chg="add del mod replST">
          <ac:chgData name="Sigrid Normann Biener" userId="b620da99-99a5-4930-9840-1ebbe6b5a720" providerId="ADAL" clId="{FF39F515-C250-4259-B171-B1F915772C28}" dt="2022-11-28T08:26:52.836" v="728"/>
          <ac:spMkLst>
            <pc:docMk/>
            <pc:sldMk cId="3797582595" sldId="257"/>
            <ac:spMk id="69" creationId="{FFA9D204-79C4-40DE-85E8-B23CAC19D7CE}"/>
          </ac:spMkLst>
        </pc:spChg>
        <pc:spChg chg="add del mod replST">
          <ac:chgData name="Sigrid Normann Biener" userId="b620da99-99a5-4930-9840-1ebbe6b5a720" providerId="ADAL" clId="{FF39F515-C250-4259-B171-B1F915772C28}" dt="2022-11-28T08:26:52.836" v="729"/>
          <ac:spMkLst>
            <pc:docMk/>
            <pc:sldMk cId="3797582595" sldId="257"/>
            <ac:spMk id="70" creationId="{A36F744B-30BC-478D-BBB1-B47DD3A99BC5}"/>
          </ac:spMkLst>
        </pc:spChg>
        <pc:spChg chg="add del mod replST">
          <ac:chgData name="Sigrid Normann Biener" userId="b620da99-99a5-4930-9840-1ebbe6b5a720" providerId="ADAL" clId="{FF39F515-C250-4259-B171-B1F915772C28}" dt="2022-11-28T08:26:52.836" v="730"/>
          <ac:spMkLst>
            <pc:docMk/>
            <pc:sldMk cId="3797582595" sldId="257"/>
            <ac:spMk id="71" creationId="{CF839410-9DA1-4D17-9155-2C70790C1214}"/>
          </ac:spMkLst>
        </pc:spChg>
        <pc:spChg chg="add del mod replST">
          <ac:chgData name="Sigrid Normann Biener" userId="b620da99-99a5-4930-9840-1ebbe6b5a720" providerId="ADAL" clId="{FF39F515-C250-4259-B171-B1F915772C28}" dt="2022-11-28T08:26:52.836" v="731"/>
          <ac:spMkLst>
            <pc:docMk/>
            <pc:sldMk cId="3797582595" sldId="257"/>
            <ac:spMk id="72" creationId="{B818FC81-3292-4182-BF3F-446C5C1D0145}"/>
          </ac:spMkLst>
        </pc:spChg>
        <pc:spChg chg="add del mod replST">
          <ac:chgData name="Sigrid Normann Biener" userId="b620da99-99a5-4930-9840-1ebbe6b5a720" providerId="ADAL" clId="{FF39F515-C250-4259-B171-B1F915772C28}" dt="2022-11-28T08:26:52.837" v="732"/>
          <ac:spMkLst>
            <pc:docMk/>
            <pc:sldMk cId="3797582595" sldId="257"/>
            <ac:spMk id="73" creationId="{62C6334E-BF98-4092-B70A-9141A063D3EA}"/>
          </ac:spMkLst>
        </pc:spChg>
        <pc:spChg chg="add del mod replST">
          <ac:chgData name="Sigrid Normann Biener" userId="b620da99-99a5-4930-9840-1ebbe6b5a720" providerId="ADAL" clId="{FF39F515-C250-4259-B171-B1F915772C28}" dt="2022-11-28T08:26:52.837" v="733"/>
          <ac:spMkLst>
            <pc:docMk/>
            <pc:sldMk cId="3797582595" sldId="257"/>
            <ac:spMk id="74" creationId="{E9A6EA68-474E-4739-8CBB-04A8881522D7}"/>
          </ac:spMkLst>
        </pc:spChg>
        <pc:spChg chg="add mod ord">
          <ac:chgData name="Sigrid Normann Biener" userId="b620da99-99a5-4930-9840-1ebbe6b5a720" providerId="ADAL" clId="{FF39F515-C250-4259-B171-B1F915772C28}" dt="2022-11-28T08:37:43.375" v="1254"/>
          <ac:spMkLst>
            <pc:docMk/>
            <pc:sldMk cId="3797582595" sldId="257"/>
            <ac:spMk id="76" creationId="{82F4AAD2-4882-4C0B-B804-5CD6127A210C}"/>
          </ac:spMkLst>
        </pc:spChg>
        <pc:spChg chg="add del mod ord">
          <ac:chgData name="Sigrid Normann Biener" userId="b620da99-99a5-4930-9840-1ebbe6b5a720" providerId="ADAL" clId="{FF39F515-C250-4259-B171-B1F915772C28}" dt="2022-11-28T08:37:43.376" v="1258"/>
          <ac:spMkLst>
            <pc:docMk/>
            <pc:sldMk cId="3797582595" sldId="257"/>
            <ac:spMk id="91" creationId="{B7E0264A-C9B9-4D39-BE25-EF25EA57F56E}"/>
          </ac:spMkLst>
        </pc:spChg>
        <pc:spChg chg="del mod ord">
          <ac:chgData name="Sigrid Normann Biener" userId="b620da99-99a5-4930-9840-1ebbe6b5a720" providerId="ADAL" clId="{FF39F515-C250-4259-B171-B1F915772C28}" dt="2022-11-28T08:36:56.596" v="1173"/>
          <ac:spMkLst>
            <pc:docMk/>
            <pc:sldMk cId="3797582595" sldId="257"/>
            <ac:spMk id="98" creationId="{98B0583A-9695-4BEA-9FBF-FC17C922700F}"/>
          </ac:spMkLst>
        </pc:spChg>
        <pc:spChg chg="del mod ord">
          <ac:chgData name="Sigrid Normann Biener" userId="b620da99-99a5-4930-9840-1ebbe6b5a720" providerId="ADAL" clId="{FF39F515-C250-4259-B171-B1F915772C28}" dt="2022-11-28T08:36:56.603" v="1184"/>
          <ac:spMkLst>
            <pc:docMk/>
            <pc:sldMk cId="3797582595" sldId="257"/>
            <ac:spMk id="99" creationId="{69D3B329-5E01-44AF-AAA6-DF1F1C6CE5C2}"/>
          </ac:spMkLst>
        </pc:spChg>
        <pc:spChg chg="del mod">
          <ac:chgData name="Sigrid Normann Biener" userId="b620da99-99a5-4930-9840-1ebbe6b5a720" providerId="ADAL" clId="{FF39F515-C250-4259-B171-B1F915772C28}" dt="2022-11-28T08:36:56.602" v="1182"/>
          <ac:spMkLst>
            <pc:docMk/>
            <pc:sldMk cId="3797582595" sldId="257"/>
            <ac:spMk id="101" creationId="{78229C43-DF0A-4F7E-A1FE-C47E9F282821}"/>
          </ac:spMkLst>
        </pc:spChg>
        <pc:spChg chg="del mod ord">
          <ac:chgData name="Sigrid Normann Biener" userId="b620da99-99a5-4930-9840-1ebbe6b5a720" providerId="ADAL" clId="{FF39F515-C250-4259-B171-B1F915772C28}" dt="2022-11-28T08:36:56.601" v="1181"/>
          <ac:spMkLst>
            <pc:docMk/>
            <pc:sldMk cId="3797582595" sldId="257"/>
            <ac:spMk id="102" creationId="{0A2D33B8-99E3-4708-8C37-2ABCB564C389}"/>
          </ac:spMkLst>
        </pc:spChg>
        <pc:spChg chg="del mod ord">
          <ac:chgData name="Sigrid Normann Biener" userId="b620da99-99a5-4930-9840-1ebbe6b5a720" providerId="ADAL" clId="{FF39F515-C250-4259-B171-B1F915772C28}" dt="2022-11-28T08:36:56.590" v="1163"/>
          <ac:spMkLst>
            <pc:docMk/>
            <pc:sldMk cId="3797582595" sldId="257"/>
            <ac:spMk id="103" creationId="{5F549C29-7030-42F4-ACF5-AFB4B5622847}"/>
          </ac:spMkLst>
        </pc:spChg>
        <pc:graphicFrameChg chg="mod">
          <ac:chgData name="Sigrid Normann Biener" userId="b620da99-99a5-4930-9840-1ebbe6b5a720" providerId="ADAL" clId="{FF39F515-C250-4259-B171-B1F915772C28}" dt="2022-11-28T08:37:43.379" v="1265"/>
          <ac:graphicFrameMkLst>
            <pc:docMk/>
            <pc:sldMk cId="3797582595" sldId="257"/>
            <ac:graphicFrameMk id="8" creationId="{CDCA96AF-6F30-4CA1-B1EF-7B934F0DD16F}"/>
          </ac:graphicFrameMkLst>
        </pc:graphicFrameChg>
        <pc:graphicFrameChg chg="add mod ord modGraphic">
          <ac:chgData name="Sigrid Normann Biener" userId="b620da99-99a5-4930-9840-1ebbe6b5a720" providerId="ADAL" clId="{FF39F515-C250-4259-B171-B1F915772C28}" dt="2022-11-28T08:37:54.798" v="1266" actId="20577"/>
          <ac:graphicFrameMkLst>
            <pc:docMk/>
            <pc:sldMk cId="3797582595" sldId="257"/>
            <ac:graphicFrameMk id="75" creationId="{169443BC-BA51-4601-BBC8-5962198FFBD2}"/>
          </ac:graphicFrameMkLst>
        </pc:graphicFrameChg>
        <pc:picChg chg="mod ord">
          <ac:chgData name="Sigrid Normann Biener" userId="b620da99-99a5-4930-9840-1ebbe6b5a720" providerId="ADAL" clId="{FF39F515-C250-4259-B171-B1F915772C28}" dt="2022-11-28T08:37:43.377" v="1260"/>
          <ac:picMkLst>
            <pc:docMk/>
            <pc:sldMk cId="3797582595" sldId="257"/>
            <ac:picMk id="97" creationId="{B37792AF-11A8-4DBF-87A9-985B03640004}"/>
          </ac:picMkLst>
        </pc:picChg>
        <pc:picChg chg="add del">
          <ac:chgData name="Sigrid Normann Biener" userId="b620da99-99a5-4930-9840-1ebbe6b5a720" providerId="ADAL" clId="{FF39F515-C250-4259-B171-B1F915772C28}" dt="2022-11-28T08:17:47.197" v="179"/>
          <ac:picMkLst>
            <pc:docMk/>
            <pc:sldMk cId="3797582595" sldId="257"/>
            <ac:picMk id="2049" creationId="{ED23B9F9-3B14-4B27-83F8-D79433732586}"/>
          </ac:picMkLst>
        </pc:picChg>
        <pc:cxnChg chg="del mod ord">
          <ac:chgData name="Sigrid Normann Biener" userId="b620da99-99a5-4930-9840-1ebbe6b5a720" providerId="ADAL" clId="{FF39F515-C250-4259-B171-B1F915772C28}" dt="2022-11-28T08:36:56.595" v="1171"/>
          <ac:cxnSpMkLst>
            <pc:docMk/>
            <pc:sldMk cId="3797582595" sldId="257"/>
            <ac:cxnSpMk id="43" creationId="{20004346-F6CD-41EA-8DA0-B8755C29D45B}"/>
          </ac:cxnSpMkLst>
        </pc:cxnChg>
        <pc:cxnChg chg="del mod ord">
          <ac:chgData name="Sigrid Normann Biener" userId="b620da99-99a5-4930-9840-1ebbe6b5a720" providerId="ADAL" clId="{FF39F515-C250-4259-B171-B1F915772C28}" dt="2022-11-28T08:36:56.593" v="1167"/>
          <ac:cxnSpMkLst>
            <pc:docMk/>
            <pc:sldMk cId="3797582595" sldId="257"/>
            <ac:cxnSpMk id="44" creationId="{2CC9E97E-075E-41F7-B118-C400C84216F2}"/>
          </ac:cxnSpMkLst>
        </pc:cxnChg>
        <pc:cxnChg chg="del mod ord">
          <ac:chgData name="Sigrid Normann Biener" userId="b620da99-99a5-4930-9840-1ebbe6b5a720" providerId="ADAL" clId="{FF39F515-C250-4259-B171-B1F915772C28}" dt="2022-11-28T08:36:56.620" v="1234"/>
          <ac:cxnSpMkLst>
            <pc:docMk/>
            <pc:sldMk cId="3797582595" sldId="257"/>
            <ac:cxnSpMk id="45" creationId="{348C3DBC-95F0-4220-9ED3-8ED8F6E07556}"/>
          </ac:cxnSpMkLst>
        </pc:cxnChg>
        <pc:cxnChg chg="del mod ord">
          <ac:chgData name="Sigrid Normann Biener" userId="b620da99-99a5-4930-9840-1ebbe6b5a720" providerId="ADAL" clId="{FF39F515-C250-4259-B171-B1F915772C28}" dt="2022-11-28T08:36:56.620" v="1232"/>
          <ac:cxnSpMkLst>
            <pc:docMk/>
            <pc:sldMk cId="3797582595" sldId="257"/>
            <ac:cxnSpMk id="46" creationId="{57581FA0-C022-40D2-9380-13A48AA644AA}"/>
          </ac:cxnSpMkLst>
        </pc:cxnChg>
        <pc:cxnChg chg="del mod ord">
          <ac:chgData name="Sigrid Normann Biener" userId="b620da99-99a5-4930-9840-1ebbe6b5a720" providerId="ADAL" clId="{FF39F515-C250-4259-B171-B1F915772C28}" dt="2022-11-28T08:36:56.619" v="1230"/>
          <ac:cxnSpMkLst>
            <pc:docMk/>
            <pc:sldMk cId="3797582595" sldId="257"/>
            <ac:cxnSpMk id="47" creationId="{A28FD684-8883-4DD4-B6BF-44DF4CB203CE}"/>
          </ac:cxnSpMkLst>
        </pc:cxnChg>
        <pc:cxnChg chg="del mod ord">
          <ac:chgData name="Sigrid Normann Biener" userId="b620da99-99a5-4930-9840-1ebbe6b5a720" providerId="ADAL" clId="{FF39F515-C250-4259-B171-B1F915772C28}" dt="2022-11-28T08:36:56.618" v="1228"/>
          <ac:cxnSpMkLst>
            <pc:docMk/>
            <pc:sldMk cId="3797582595" sldId="257"/>
            <ac:cxnSpMk id="48" creationId="{C0F20EAC-1DAB-4DC7-9AD7-8F5E6DBCB4E2}"/>
          </ac:cxnSpMkLst>
        </pc:cxnChg>
        <pc:cxnChg chg="del mod ord">
          <ac:chgData name="Sigrid Normann Biener" userId="b620da99-99a5-4930-9840-1ebbe6b5a720" providerId="ADAL" clId="{FF39F515-C250-4259-B171-B1F915772C28}" dt="2022-11-28T08:36:56.618" v="1226"/>
          <ac:cxnSpMkLst>
            <pc:docMk/>
            <pc:sldMk cId="3797582595" sldId="257"/>
            <ac:cxnSpMk id="49" creationId="{34D32267-7CD0-4AFC-A99E-4CAA98056AE0}"/>
          </ac:cxnSpMkLst>
        </pc:cxnChg>
        <pc:cxnChg chg="del mod ord">
          <ac:chgData name="Sigrid Normann Biener" userId="b620da99-99a5-4930-9840-1ebbe6b5a720" providerId="ADAL" clId="{FF39F515-C250-4259-B171-B1F915772C28}" dt="2022-11-28T08:36:56.617" v="1224"/>
          <ac:cxnSpMkLst>
            <pc:docMk/>
            <pc:sldMk cId="3797582595" sldId="257"/>
            <ac:cxnSpMk id="50" creationId="{9FFB3B39-7519-4788-B8E3-C09F90887502}"/>
          </ac:cxnSpMkLst>
        </pc:cxnChg>
        <pc:cxnChg chg="del mod ord">
          <ac:chgData name="Sigrid Normann Biener" userId="b620da99-99a5-4930-9840-1ebbe6b5a720" providerId="ADAL" clId="{FF39F515-C250-4259-B171-B1F915772C28}" dt="2022-11-28T08:36:56.617" v="1222"/>
          <ac:cxnSpMkLst>
            <pc:docMk/>
            <pc:sldMk cId="3797582595" sldId="257"/>
            <ac:cxnSpMk id="51" creationId="{6C2B29F3-C33D-46B6-8A72-54B72BB65485}"/>
          </ac:cxnSpMkLst>
        </pc:cxnChg>
        <pc:cxnChg chg="del mod ord">
          <ac:chgData name="Sigrid Normann Biener" userId="b620da99-99a5-4930-9840-1ebbe6b5a720" providerId="ADAL" clId="{FF39F515-C250-4259-B171-B1F915772C28}" dt="2022-11-28T08:36:56.616" v="1220"/>
          <ac:cxnSpMkLst>
            <pc:docMk/>
            <pc:sldMk cId="3797582595" sldId="257"/>
            <ac:cxnSpMk id="52" creationId="{35F8C7CA-6AE3-4CAC-872C-FD903217A723}"/>
          </ac:cxnSpMkLst>
        </pc:cxnChg>
        <pc:cxnChg chg="del mod ord">
          <ac:chgData name="Sigrid Normann Biener" userId="b620da99-99a5-4930-9840-1ebbe6b5a720" providerId="ADAL" clId="{FF39F515-C250-4259-B171-B1F915772C28}" dt="2022-11-28T08:36:56.615" v="1218"/>
          <ac:cxnSpMkLst>
            <pc:docMk/>
            <pc:sldMk cId="3797582595" sldId="257"/>
            <ac:cxnSpMk id="53" creationId="{8FC3332B-2B96-4486-A48A-62FCB96E1E31}"/>
          </ac:cxnSpMkLst>
        </pc:cxnChg>
        <pc:cxnChg chg="del mod ord">
          <ac:chgData name="Sigrid Normann Biener" userId="b620da99-99a5-4930-9840-1ebbe6b5a720" providerId="ADAL" clId="{FF39F515-C250-4259-B171-B1F915772C28}" dt="2022-11-28T08:36:56.615" v="1216"/>
          <ac:cxnSpMkLst>
            <pc:docMk/>
            <pc:sldMk cId="3797582595" sldId="257"/>
            <ac:cxnSpMk id="54" creationId="{9FD19929-1AA8-4167-AF45-D7E1DA1E5B0C}"/>
          </ac:cxnSpMkLst>
        </pc:cxnChg>
        <pc:cxnChg chg="del mod ord">
          <ac:chgData name="Sigrid Normann Biener" userId="b620da99-99a5-4930-9840-1ebbe6b5a720" providerId="ADAL" clId="{FF39F515-C250-4259-B171-B1F915772C28}" dt="2022-11-28T08:36:56.614" v="1214"/>
          <ac:cxnSpMkLst>
            <pc:docMk/>
            <pc:sldMk cId="3797582595" sldId="257"/>
            <ac:cxnSpMk id="55" creationId="{BE0596E4-6D3F-4AC6-973F-8AD53AC97586}"/>
          </ac:cxnSpMkLst>
        </pc:cxnChg>
        <pc:cxnChg chg="del mod ord">
          <ac:chgData name="Sigrid Normann Biener" userId="b620da99-99a5-4930-9840-1ebbe6b5a720" providerId="ADAL" clId="{FF39F515-C250-4259-B171-B1F915772C28}" dt="2022-11-28T08:36:56.613" v="1212"/>
          <ac:cxnSpMkLst>
            <pc:docMk/>
            <pc:sldMk cId="3797582595" sldId="257"/>
            <ac:cxnSpMk id="56" creationId="{7F89742B-C0C2-4858-86E7-A96EB334019E}"/>
          </ac:cxnSpMkLst>
        </pc:cxnChg>
        <pc:cxnChg chg="del mod ord">
          <ac:chgData name="Sigrid Normann Biener" userId="b620da99-99a5-4930-9840-1ebbe6b5a720" providerId="ADAL" clId="{FF39F515-C250-4259-B171-B1F915772C28}" dt="2022-11-28T08:36:56.612" v="1210"/>
          <ac:cxnSpMkLst>
            <pc:docMk/>
            <pc:sldMk cId="3797582595" sldId="257"/>
            <ac:cxnSpMk id="57" creationId="{3ED796C7-4566-4F45-B143-8B1D5F7DC1EB}"/>
          </ac:cxnSpMkLst>
        </pc:cxnChg>
        <pc:cxnChg chg="del mod ord">
          <ac:chgData name="Sigrid Normann Biener" userId="b620da99-99a5-4930-9840-1ebbe6b5a720" providerId="ADAL" clId="{FF39F515-C250-4259-B171-B1F915772C28}" dt="2022-11-28T08:36:56.612" v="1208"/>
          <ac:cxnSpMkLst>
            <pc:docMk/>
            <pc:sldMk cId="3797582595" sldId="257"/>
            <ac:cxnSpMk id="58" creationId="{E3F86F86-CE87-451C-9EC1-312E19E659D7}"/>
          </ac:cxnSpMkLst>
        </pc:cxnChg>
        <pc:cxnChg chg="del mod ord">
          <ac:chgData name="Sigrid Normann Biener" userId="b620da99-99a5-4930-9840-1ebbe6b5a720" providerId="ADAL" clId="{FF39F515-C250-4259-B171-B1F915772C28}" dt="2022-11-28T08:36:56.611" v="1206"/>
          <ac:cxnSpMkLst>
            <pc:docMk/>
            <pc:sldMk cId="3797582595" sldId="257"/>
            <ac:cxnSpMk id="59" creationId="{C8226DF2-E5FC-4C09-847B-FADAF14B13E1}"/>
          </ac:cxnSpMkLst>
        </pc:cxnChg>
        <pc:cxnChg chg="del mod ord">
          <ac:chgData name="Sigrid Normann Biener" userId="b620da99-99a5-4930-9840-1ebbe6b5a720" providerId="ADAL" clId="{FF39F515-C250-4259-B171-B1F915772C28}" dt="2022-11-28T08:36:56.623" v="1244"/>
          <ac:cxnSpMkLst>
            <pc:docMk/>
            <pc:sldMk cId="3797582595" sldId="257"/>
            <ac:cxnSpMk id="60" creationId="{478DB654-A456-4BCA-A2EA-B5DB1F903391}"/>
          </ac:cxnSpMkLst>
        </pc:cxnChg>
        <pc:cxnChg chg="del mod ord">
          <ac:chgData name="Sigrid Normann Biener" userId="b620da99-99a5-4930-9840-1ebbe6b5a720" providerId="ADAL" clId="{FF39F515-C250-4259-B171-B1F915772C28}" dt="2022-11-28T08:36:56.622" v="1240"/>
          <ac:cxnSpMkLst>
            <pc:docMk/>
            <pc:sldMk cId="3797582595" sldId="257"/>
            <ac:cxnSpMk id="61" creationId="{FDA2B701-15C1-44F3-B31F-D4E8AC00F47C}"/>
          </ac:cxnSpMkLst>
        </pc:cxnChg>
        <pc:cxnChg chg="del mod ord">
          <ac:chgData name="Sigrid Normann Biener" userId="b620da99-99a5-4930-9840-1ebbe6b5a720" providerId="ADAL" clId="{FF39F515-C250-4259-B171-B1F915772C28}" dt="2022-11-28T08:36:56.621" v="1236"/>
          <ac:cxnSpMkLst>
            <pc:docMk/>
            <pc:sldMk cId="3797582595" sldId="257"/>
            <ac:cxnSpMk id="62" creationId="{06A3DDD8-0F19-444A-A848-272B6A46A378}"/>
          </ac:cxnSpMkLst>
        </pc:cxnChg>
        <pc:cxnChg chg="del mod ord">
          <ac:chgData name="Sigrid Normann Biener" userId="b620da99-99a5-4930-9840-1ebbe6b5a720" providerId="ADAL" clId="{FF39F515-C250-4259-B171-B1F915772C28}" dt="2022-11-28T08:36:56.622" v="1242"/>
          <ac:cxnSpMkLst>
            <pc:docMk/>
            <pc:sldMk cId="3797582595" sldId="257"/>
            <ac:cxnSpMk id="63" creationId="{2C720497-969C-4834-9809-86918F586434}"/>
          </ac:cxnSpMkLst>
        </pc:cxnChg>
        <pc:cxnChg chg="del mod ord">
          <ac:chgData name="Sigrid Normann Biener" userId="b620da99-99a5-4930-9840-1ebbe6b5a720" providerId="ADAL" clId="{FF39F515-C250-4259-B171-B1F915772C28}" dt="2022-11-28T08:36:56.621" v="1238"/>
          <ac:cxnSpMkLst>
            <pc:docMk/>
            <pc:sldMk cId="3797582595" sldId="257"/>
            <ac:cxnSpMk id="64" creationId="{2FDED626-BCB9-4494-965A-D34D83D588CB}"/>
          </ac:cxnSpMkLst>
        </pc:cxnChg>
      </pc:sldChg>
      <pc:sldChg chg="addSp delSp modSp new add del mod">
        <pc:chgData name="Sigrid Normann Biener" userId="b620da99-99a5-4930-9840-1ebbe6b5a720" providerId="ADAL" clId="{FF39F515-C250-4259-B171-B1F915772C28}" dt="2022-11-28T08:38:01.595" v="1267" actId="47"/>
        <pc:sldMkLst>
          <pc:docMk/>
          <pc:sldMk cId="2009558306" sldId="258"/>
        </pc:sldMkLst>
        <pc:spChg chg="mod ord">
          <ac:chgData name="Sigrid Normann Biener" userId="b620da99-99a5-4930-9840-1ebbe6b5a720" providerId="ADAL" clId="{FF39F515-C250-4259-B171-B1F915772C28}" dt="2022-11-28T08:35:19.594" v="1129"/>
          <ac:spMkLst>
            <pc:docMk/>
            <pc:sldMk cId="2009558306" sldId="258"/>
            <ac:spMk id="2" creationId="{988EAA9F-5F61-4C7A-B8D6-D4C9DC6D7A04}"/>
          </ac:spMkLst>
        </pc:spChg>
        <pc:spChg chg="del">
          <ac:chgData name="Sigrid Normann Biener" userId="b620da99-99a5-4930-9840-1ebbe6b5a720" providerId="ADAL" clId="{FF39F515-C250-4259-B171-B1F915772C28}" dt="2022-11-28T08:30:14.241" v="991"/>
          <ac:spMkLst>
            <pc:docMk/>
            <pc:sldMk cId="2009558306" sldId="258"/>
            <ac:spMk id="3" creationId="{C053A88D-7A3C-47BC-9875-E115564D252B}"/>
          </ac:spMkLst>
        </pc:spChg>
        <pc:spChg chg="mod ord">
          <ac:chgData name="Sigrid Normann Biener" userId="b620da99-99a5-4930-9840-1ebbe6b5a720" providerId="ADAL" clId="{FF39F515-C250-4259-B171-B1F915772C28}" dt="2022-11-28T08:35:19.594" v="1133"/>
          <ac:spMkLst>
            <pc:docMk/>
            <pc:sldMk cId="2009558306" sldId="258"/>
            <ac:spMk id="4" creationId="{CCDE1EEF-364A-4156-B3CD-D6575BE950C4}"/>
          </ac:spMkLst>
        </pc:spChg>
        <pc:spChg chg="add mod ord">
          <ac:chgData name="Sigrid Normann Biener" userId="b620da99-99a5-4930-9840-1ebbe6b5a720" providerId="ADAL" clId="{FF39F515-C250-4259-B171-B1F915772C28}" dt="2022-11-28T08:37:33.885" v="1251" actId="207"/>
          <ac:spMkLst>
            <pc:docMk/>
            <pc:sldMk cId="2009558306" sldId="258"/>
            <ac:spMk id="6" creationId="{A9159C2A-3449-45D6-A3E4-78AAE2929EAE}"/>
          </ac:spMkLst>
        </pc:spChg>
        <pc:spChg chg="add mod">
          <ac:chgData name="Sigrid Normann Biener" userId="b620da99-99a5-4930-9840-1ebbe6b5a720" providerId="ADAL" clId="{FF39F515-C250-4259-B171-B1F915772C28}" dt="2022-11-28T08:36:48.887" v="1160" actId="14100"/>
          <ac:spMkLst>
            <pc:docMk/>
            <pc:sldMk cId="2009558306" sldId="258"/>
            <ac:spMk id="8" creationId="{5B697ED7-A5B1-4BB9-AC72-9F89B44CAF99}"/>
          </ac:spMkLst>
        </pc:spChg>
        <pc:spChg chg="add mod">
          <ac:chgData name="Sigrid Normann Biener" userId="b620da99-99a5-4930-9840-1ebbe6b5a720" providerId="ADAL" clId="{FF39F515-C250-4259-B171-B1F915772C28}" dt="2022-11-28T08:36:43.863" v="1159" actId="1076"/>
          <ac:spMkLst>
            <pc:docMk/>
            <pc:sldMk cId="2009558306" sldId="258"/>
            <ac:spMk id="9" creationId="{C5B735A4-1538-4713-889B-8AF655AAFC65}"/>
          </ac:spMkLst>
        </pc:spChg>
        <pc:spChg chg="add del mod">
          <ac:chgData name="Sigrid Normann Biener" userId="b620da99-99a5-4930-9840-1ebbe6b5a720" providerId="ADAL" clId="{FF39F515-C250-4259-B171-B1F915772C28}" dt="2022-11-28T08:37:05.577" v="1250" actId="478"/>
          <ac:spMkLst>
            <pc:docMk/>
            <pc:sldMk cId="2009558306" sldId="258"/>
            <ac:spMk id="11" creationId="{ABF2E34E-02AC-41F9-B374-1161CC2C39BD}"/>
          </ac:spMkLst>
        </pc:spChg>
        <pc:graphicFrameChg chg="add del mod ord modGraphic">
          <ac:chgData name="Sigrid Normann Biener" userId="b620da99-99a5-4930-9840-1ebbe6b5a720" providerId="ADAL" clId="{FF39F515-C250-4259-B171-B1F915772C28}" dt="2022-11-28T08:37:02.265" v="1249" actId="478"/>
          <ac:graphicFrameMkLst>
            <pc:docMk/>
            <pc:sldMk cId="2009558306" sldId="258"/>
            <ac:graphicFrameMk id="5" creationId="{5452887D-2F88-4CF2-8351-8B1EE1B828D9}"/>
          </ac:graphicFrameMkLst>
        </pc:graphicFrameChg>
        <pc:graphicFrameChg chg="add mod ord modVis replST">
          <ac:chgData name="Sigrid Normann Biener" userId="b620da99-99a5-4930-9840-1ebbe6b5a720" providerId="ADAL" clId="{FF39F515-C250-4259-B171-B1F915772C28}" dt="2022-11-28T08:35:19.631" v="1150"/>
          <ac:graphicFrameMkLst>
            <pc:docMk/>
            <pc:sldMk cId="2009558306" sldId="258"/>
            <ac:graphicFrameMk id="7" creationId="{312BD9C1-6259-43CA-903F-011B0F428F55}"/>
          </ac:graphicFrameMkLst>
        </pc:graphicFrameChg>
      </pc:sldChg>
      <pc:sldMasterChg chg="modSldLayout">
        <pc:chgData name="Sigrid Normann Biener" userId="b620da99-99a5-4930-9840-1ebbe6b5a720" providerId="ADAL" clId="{FF39F515-C250-4259-B171-B1F915772C28}" dt="2022-11-03T14:55:07.595" v="175" actId="207"/>
        <pc:sldMasterMkLst>
          <pc:docMk/>
          <pc:sldMasterMk cId="180999990" sldId="2147483648"/>
        </pc:sldMasterMkLst>
        <pc:sldLayoutChg chg="modSp mod">
          <pc:chgData name="Sigrid Normann Biener" userId="b620da99-99a5-4930-9840-1ebbe6b5a720" providerId="ADAL" clId="{FF39F515-C250-4259-B171-B1F915772C28}" dt="2022-11-03T14:54:16.044" v="0" actId="1076"/>
          <pc:sldLayoutMkLst>
            <pc:docMk/>
            <pc:sldMasterMk cId="180999990" sldId="2147483648"/>
            <pc:sldLayoutMk cId="576671673" sldId="2147483651"/>
          </pc:sldLayoutMkLst>
          <pc:spChg chg="mod">
            <ac:chgData name="Sigrid Normann Biener" userId="b620da99-99a5-4930-9840-1ebbe6b5a720" providerId="ADAL" clId="{FF39F515-C250-4259-B171-B1F915772C28}" dt="2022-11-03T14:54:16.044" v="0" actId="1076"/>
            <ac:spMkLst>
              <pc:docMk/>
              <pc:sldMasterMk cId="180999990" sldId="2147483648"/>
              <pc:sldLayoutMk cId="576671673" sldId="2147483651"/>
              <ac:spMk id="9" creationId="{22F6F34B-A8D0-4DB2-A40E-DF14A9DD8EC5}"/>
            </ac:spMkLst>
          </pc:spChg>
        </pc:sldLayoutChg>
        <pc:sldLayoutChg chg="addSp delSp modSp mod">
          <pc:chgData name="Sigrid Normann Biener" userId="b620da99-99a5-4930-9840-1ebbe6b5a720" providerId="ADAL" clId="{FF39F515-C250-4259-B171-B1F915772C28}" dt="2022-11-03T14:55:07.595" v="175" actId="207"/>
          <pc:sldLayoutMkLst>
            <pc:docMk/>
            <pc:sldMasterMk cId="180999990" sldId="2147483648"/>
            <pc:sldLayoutMk cId="1801837105" sldId="2147483658"/>
          </pc:sldLayoutMkLst>
          <pc:spChg chg="add del mod">
            <ac:chgData name="Sigrid Normann Biener" userId="b620da99-99a5-4930-9840-1ebbe6b5a720" providerId="ADAL" clId="{FF39F515-C250-4259-B171-B1F915772C28}" dt="2022-11-03T14:54:44.757" v="117" actId="948"/>
            <ac:spMkLst>
              <pc:docMk/>
              <pc:sldMasterMk cId="180999990" sldId="2147483648"/>
              <pc:sldLayoutMk cId="1801837105" sldId="2147483658"/>
              <ac:spMk id="2" creationId="{00000000-0000-0000-0000-000000000000}"/>
            </ac:spMkLst>
          </pc:spChg>
          <pc:spChg chg="add del mod modVis">
            <ac:chgData name="Sigrid Normann Biener" userId="b620da99-99a5-4930-9840-1ebbe6b5a720" providerId="ADAL" clId="{FF39F515-C250-4259-B171-B1F915772C28}" dt="2022-11-03T14:54:40.156" v="113" actId="962"/>
            <ac:spMkLst>
              <pc:docMk/>
              <pc:sldMasterMk cId="180999990" sldId="2147483648"/>
              <pc:sldLayoutMk cId="1801837105" sldId="2147483658"/>
              <ac:spMk id="7" creationId="{E4AF6E3E-FFF3-4AC9-84CF-AC45CC18E88B}"/>
            </ac:spMkLst>
          </pc:spChg>
          <pc:spChg chg="add del mod modVis">
            <ac:chgData name="Sigrid Normann Biener" userId="b620da99-99a5-4930-9840-1ebbe6b5a720" providerId="ADAL" clId="{FF39F515-C250-4259-B171-B1F915772C28}" dt="2022-11-03T14:54:44.812" v="157"/>
            <ac:spMkLst>
              <pc:docMk/>
              <pc:sldMasterMk cId="180999990" sldId="2147483648"/>
              <pc:sldLayoutMk cId="1801837105" sldId="2147483658"/>
              <ac:spMk id="9" creationId="{562A549E-4C14-4081-AEF0-9DDF96374239}"/>
            </ac:spMkLst>
          </pc:spChg>
          <pc:spChg chg="add mod">
            <ac:chgData name="Sigrid Normann Biener" userId="b620da99-99a5-4930-9840-1ebbe6b5a720" providerId="ADAL" clId="{FF39F515-C250-4259-B171-B1F915772C28}" dt="2022-11-03T14:55:07.595" v="175" actId="207"/>
            <ac:spMkLst>
              <pc:docMk/>
              <pc:sldMasterMk cId="180999990" sldId="2147483648"/>
              <pc:sldLayoutMk cId="1801837105" sldId="2147483658"/>
              <ac:spMk id="11" creationId="{4C3BC396-9C7F-4CCE-AD99-C88FEC3191A3}"/>
            </ac:spMkLst>
          </pc:spChg>
          <pc:graphicFrameChg chg="add mod ord modVis replST delST">
            <ac:chgData name="Sigrid Normann Biener" userId="b620da99-99a5-4930-9840-1ebbe6b5a720" providerId="ADAL" clId="{FF39F515-C250-4259-B171-B1F915772C28}" dt="2022-11-03T14:54:40.133" v="76" actId="14100"/>
            <ac:graphicFrameMkLst>
              <pc:docMk/>
              <pc:sldMasterMk cId="180999990" sldId="2147483648"/>
              <pc:sldLayoutMk cId="1801837105" sldId="2147483658"/>
              <ac:graphicFrameMk id="8" creationId="{FCCC3A12-DB2C-483B-B1FF-A5A14EDBFF1A}"/>
            </ac:graphicFrameMkLst>
          </pc:graphicFrameChg>
          <pc:graphicFrameChg chg="add mod ord modVis replST">
            <ac:chgData name="Sigrid Normann Biener" userId="b620da99-99a5-4930-9840-1ebbe6b5a720" providerId="ADAL" clId="{FF39F515-C250-4259-B171-B1F915772C28}" dt="2022-11-03T14:54:44.866" v="173"/>
            <ac:graphicFrameMkLst>
              <pc:docMk/>
              <pc:sldMasterMk cId="180999990" sldId="2147483648"/>
              <pc:sldLayoutMk cId="1801837105" sldId="2147483658"/>
              <ac:graphicFrameMk id="10" creationId="{C3AE8A9C-C4C8-467A-BE23-06CC3CF2DFAD}"/>
            </ac:graphicFrameMkLst>
          </pc:graphicFrameChg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61ADCD-0986-466F-BCF4-F1403744020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FAD45B1-DDA3-4823-B57F-398ED6D7CE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42B987-EC31-4746-B4E6-062CD7AA3A1A}" type="datetime1">
              <a:rPr lang="en-GB" smtClean="0"/>
              <a:t>25/04/2023</a:t>
            </a:fld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3B3C53-DC75-4A5C-81E7-5D7CB96E12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BF6EE6-6533-46A0-A8FB-DBC252423243}" type="slidenum">
              <a:rPr lang="en-GB" smtClean="0"/>
              <a:t>‹#›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1B013-C79C-4BAB-9591-CE1E1BF2A9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4799716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7838611-CB23-4A11-B466-01829FB3E64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B1D025B-ACD2-45C1-B156-1DDB470CE319}" type="slidenum">
              <a:rPr lang="en-GB" smtClean="0"/>
              <a:t>‹#›</a:t>
            </a:fld>
            <a:endParaRPr lang="en-GB"/>
          </a:p>
        </p:txBody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5F8BE06-C1AD-4FF4-9212-678516BAB91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D410225-CB48-4A2A-9739-463AD2DBC317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325BBF7-0B0C-48D4-ABAA-EF360EF241C5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Header Placeholder 4">
            <a:extLst>
              <a:ext uri="{FF2B5EF4-FFF2-40B4-BE49-F238E27FC236}">
                <a16:creationId xmlns:a16="http://schemas.microsoft.com/office/drawing/2014/main" id="{668863D3-1D0C-412C-99BB-873840116A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6" name="Slide Image Placeholder 5">
            <a:extLst>
              <a:ext uri="{FF2B5EF4-FFF2-40B4-BE49-F238E27FC236}">
                <a16:creationId xmlns:a16="http://schemas.microsoft.com/office/drawing/2014/main" id="{5E44B7E2-ED93-42BE-81A6-FE398D91C198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5691570-C65F-4C66-9CB2-8798BF7E897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060114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8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6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4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000" indent="0" algn="l" defTabSz="914400" rtl="0" eaLnBrk="1" latinLnBrk="0" hangingPunct="1">
      <a:buFont typeface="Arial" panose="020B0604020202020204" pitchFamily="34" charset="0"/>
      <a:buNone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12" Type="http://schemas.openxmlformats.org/officeDocument/2006/relationships/image" Target="../media/image16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D1903C8B-6A03-40C4-AD50-AACDEC5FDA0C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F5DCE21D-C322-4B21-A60A-71E6E2C54DD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200" y="0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245058 h 6861600"/>
              <a:gd name="connsiteX5" fmla="*/ 1 w 12193200"/>
              <a:gd name="connsiteY5" fmla="*/ 2245058 h 6861600"/>
              <a:gd name="connsiteX6" fmla="*/ 1 w 12193200"/>
              <a:gd name="connsiteY6" fmla="*/ 3378783 h 6861600"/>
              <a:gd name="connsiteX7" fmla="*/ 3519949 w 12193200"/>
              <a:gd name="connsiteY7" fmla="*/ 3378783 h 6861600"/>
              <a:gd name="connsiteX8" fmla="*/ 3519949 w 12193200"/>
              <a:gd name="connsiteY8" fmla="*/ 2245058 h 6861600"/>
              <a:gd name="connsiteX9" fmla="*/ 6275387 w 12193200"/>
              <a:gd name="connsiteY9" fmla="*/ 224505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245058"/>
                </a:lnTo>
                <a:lnTo>
                  <a:pt x="1" y="2245058"/>
                </a:lnTo>
                <a:lnTo>
                  <a:pt x="1" y="3378783"/>
                </a:lnTo>
                <a:lnTo>
                  <a:pt x="3519949" y="3378783"/>
                </a:lnTo>
                <a:lnTo>
                  <a:pt x="3519949" y="2245058"/>
                </a:lnTo>
                <a:lnTo>
                  <a:pt x="6275387" y="224505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358842"/>
            <a:ext cx="5094915" cy="151200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pic>
        <p:nvPicPr>
          <p:cNvPr id="4" name="Logo">
            <a:extLst>
              <a:ext uri="{FF2B5EF4-FFF2-40B4-BE49-F238E27FC236}">
                <a16:creationId xmlns:a16="http://schemas.microsoft.com/office/drawing/2014/main" id="{FF3BE45C-E4DE-42B7-B25F-83E216F00A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264292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711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3AE8A9C-C4C8-467A-BE23-06CC3CF2D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4725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C3AE8A9C-C4C8-467A-BE23-06CC3CF2DF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ACC7FD-8EF4-43FC-BAB3-47E907F17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E8F052-B495-40BE-9682-094846479C8E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4C6AF5-5886-488E-94AF-540306D521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A05638-6A02-4F90-BE63-DA3C1ABD68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C3BC396-9C7F-4CCE-AD99-C88FEC3191A3}"/>
              </a:ext>
            </a:extLst>
          </p:cNvPr>
          <p:cNvSpPr/>
          <p:nvPr userDrawn="1"/>
        </p:nvSpPr>
        <p:spPr>
          <a:xfrm>
            <a:off x="356400" y="6476400"/>
            <a:ext cx="412527" cy="1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</p:spTree>
    <p:extLst>
      <p:ext uri="{BB962C8B-B14F-4D97-AF65-F5344CB8AC3E}">
        <p14:creationId xmlns:p14="http://schemas.microsoft.com/office/powerpoint/2010/main" val="18018371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69B33E8C-77AA-45CF-BAED-72698ECB8677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4799" y="1829496"/>
            <a:ext cx="55584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4C9864-BFD0-4574-B370-8DFD1BF6363B}" type="datetime1">
              <a:rPr lang="en-GB" smtClean="0"/>
              <a:t>25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077399-E20C-4E2D-ABA6-E98BC4B14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7015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0D1FB72-4098-4689-9361-6F1734C49467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3583349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3" y="1829496"/>
            <a:ext cx="752948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941A0D-1A7D-4418-872D-0A573109AE3D}" type="datetime1">
              <a:rPr lang="en-GB" smtClean="0"/>
              <a:t>25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E224427-B940-40D0-B905-8D8D279710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391578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05F7E35-11CE-4F15-B222-DEDB33EE33A5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247063" y="1829496"/>
            <a:ext cx="3586135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59999" y="1829496"/>
            <a:ext cx="75240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630481-804D-4542-835F-93D05E69FE5F}" type="datetime1">
              <a:rPr lang="en-GB" smtClean="0"/>
              <a:t>25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B64688-EF18-4F0E-8937-7DCB334BAC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40440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682D290-910D-44B1-91A3-31A92E9BCB84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5558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C3740E63-FE5A-40EF-8F52-2CDC77D09BC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74799" y="1829496"/>
            <a:ext cx="5558400" cy="4294800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E84024-A9C5-4508-AFCD-8D104EF7641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7BF43399-B145-4BBC-AF2A-C9EC8B4305A6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B2F8F-9F9B-42D4-A558-CAD2544BFE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42A5FB-27BA-4F64-94C0-20040B8BCF3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2537FCD8-5A4A-4089-A17B-F334A5974E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64815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412432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8067675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3352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03712" y="1829496"/>
            <a:ext cx="3582987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47063" y="1829496"/>
            <a:ext cx="3584575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D74F0F3-9842-478D-99B7-277D0E19CEC9}" type="datetime1">
              <a:rPr lang="en-GB" smtClean="0"/>
              <a:t>25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CB6F92-9067-4F04-94D8-F7763241FA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4750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191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9A42D6F0-A4EA-4276-A4AC-9D1AB4342CE2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8398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9C11E749-AE1E-4399-8F9B-3CD1A336BEF6}"/>
              </a:ext>
            </a:extLst>
          </p:cNvPr>
          <p:cNvSpPr>
            <a:spLocks noGrp="1"/>
          </p:cNvSpPr>
          <p:nvPr>
            <p:ph sz="half" idx="17" hasCustomPrompt="1"/>
          </p:nvPr>
        </p:nvSpPr>
        <p:spPr>
          <a:xfrm>
            <a:off x="9237599" y="1829496"/>
            <a:ext cx="2595600" cy="4294800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233B4BAF-2B92-4850-839C-D15349852EB5}" type="datetime1">
              <a:rPr lang="en-GB" smtClean="0"/>
              <a:t>25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FEBD53E-C155-468A-BF38-271FB0741E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10306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35648FC-B3C8-47BD-845A-99E2EB0898EB}"/>
              </a:ext>
            </a:extLst>
          </p:cNvPr>
          <p:cNvCxnSpPr>
            <a:cxnSpLocks/>
          </p:cNvCxnSpPr>
          <p:nvPr userDrawn="1"/>
        </p:nvCxnSpPr>
        <p:spPr>
          <a:xfrm>
            <a:off x="3134511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B244B13E-5492-434C-AF88-0302168B648A}"/>
              </a:ext>
            </a:extLst>
          </p:cNvPr>
          <p:cNvCxnSpPr>
            <a:cxnSpLocks/>
          </p:cNvCxnSpPr>
          <p:nvPr userDrawn="1"/>
        </p:nvCxnSpPr>
        <p:spPr>
          <a:xfrm>
            <a:off x="6096050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F7D38A04-1ABE-4166-96F7-5B391214ECCE}"/>
              </a:ext>
            </a:extLst>
          </p:cNvPr>
          <p:cNvCxnSpPr>
            <a:cxnSpLocks/>
          </p:cNvCxnSpPr>
          <p:nvPr userDrawn="1"/>
        </p:nvCxnSpPr>
        <p:spPr>
          <a:xfrm>
            <a:off x="9057588" y="1829496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DE9F99B-72CE-4388-A07E-16E4FCA34B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F984BEEF-AC3D-4E0F-9E5A-7B1D1E9410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18383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E32555A-FE40-40E8-A71D-91AFA7E977F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77991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F3477BD4-C018-4A4A-A1E7-1BDA53EDD04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37599" y="3883843"/>
            <a:ext cx="2595600" cy="2240732"/>
          </a:xfrm>
        </p:spPr>
        <p:txBody>
          <a:bodyPr/>
          <a:lstStyle/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E78D1B62-08BD-49AB-8756-078500D8179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99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27E426B3-007C-4DCD-B395-04C274D48424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3191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3" name="Picture Placeholder 3">
            <a:extLst>
              <a:ext uri="{FF2B5EF4-FFF2-40B4-BE49-F238E27FC236}">
                <a16:creationId xmlns:a16="http://schemas.microsoft.com/office/drawing/2014/main" id="{D826721D-67F8-4284-AA9F-4B3CCE1F525B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278398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11DEFE19-EE06-43A9-A968-EE248DB75F7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237599" y="1829496"/>
            <a:ext cx="2595600" cy="1894092"/>
          </a:xfrm>
          <a:solidFill>
            <a:srgbClr val="F9F9F7"/>
          </a:solidFill>
        </p:spPr>
        <p:txBody>
          <a:bodyPr lIns="72000" tIns="72000" anchor="t" anchorCtr="0"/>
          <a:lstStyle>
            <a:lvl1pPr marL="0" indent="0" algn="l">
              <a:spcAft>
                <a:spcPts val="0"/>
              </a:spcAft>
              <a:buNone/>
              <a:defRPr sz="12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2B89D45-376E-4BB4-AF66-EBFB8157555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B5352C5-81EC-4100-8EF4-0409291AC406}" type="datetime1">
              <a:rPr lang="en-GB" smtClean="0"/>
              <a:t>25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1DE4065-89C1-4F31-92C2-C722F8FDD56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2CBF5B00-B445-4B0E-8583-A5FF5F82E34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7A819-D59E-4FB0-B4D8-4B50F3690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71685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A4F6F59-6CB3-4166-9CD8-0F5BCD967261}" type="datetime1">
              <a:rPr lang="en-GB" smtClean="0"/>
              <a:t>25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4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E1FB56-AB97-4B01-A917-7353F37994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9" cy="938253"/>
          </a:xfrm>
        </p:spPr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26208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19C5DF7-AA05-44B8-878C-85AD93C7ED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CCEA19-5171-4127-A28C-C6D875C2D7D4}" type="datetime1">
              <a:rPr lang="en-GB" smtClean="0"/>
              <a:t>25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B44664D2-EB52-4A0B-B455-1050F47E9E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C95586C-4D9B-49BB-B75A-228B73D2F8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09BBAAE4-B138-434A-AB2B-8751F2BDF242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969635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B42BF88-9EAB-4FF1-8C7D-3D1A57D94546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66F7659C-7B1E-49FB-B560-86891DD563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6275387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2780908 h 6861600"/>
              <a:gd name="connsiteX5" fmla="*/ 1 w 12193200"/>
              <a:gd name="connsiteY5" fmla="*/ 2780908 h 6861600"/>
              <a:gd name="connsiteX6" fmla="*/ 1 w 12193200"/>
              <a:gd name="connsiteY6" fmla="*/ 3934964 h 6861600"/>
              <a:gd name="connsiteX7" fmla="*/ 3519949 w 12193200"/>
              <a:gd name="connsiteY7" fmla="*/ 3934964 h 6861600"/>
              <a:gd name="connsiteX8" fmla="*/ 3519949 w 12193200"/>
              <a:gd name="connsiteY8" fmla="*/ 2780908 h 6861600"/>
              <a:gd name="connsiteX9" fmla="*/ 6275387 w 12193200"/>
              <a:gd name="connsiteY9" fmla="*/ 2780908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3200" h="6861600">
                <a:moveTo>
                  <a:pt x="6275387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2780908"/>
                </a:lnTo>
                <a:lnTo>
                  <a:pt x="1" y="2780908"/>
                </a:lnTo>
                <a:lnTo>
                  <a:pt x="1" y="3934964"/>
                </a:lnTo>
                <a:lnTo>
                  <a:pt x="3519949" y="3934964"/>
                </a:lnTo>
                <a:lnTo>
                  <a:pt x="3519949" y="2780908"/>
                </a:lnTo>
                <a:lnTo>
                  <a:pt x="6275387" y="2780908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0" bIns="72000" anchor="b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338370"/>
            <a:ext cx="5094000" cy="1723004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57742" y="2163337"/>
            <a:ext cx="5094000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BE643BFE-CC71-4C45-A510-41469C9CD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205083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6286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412598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8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294799" y="1829496"/>
            <a:ext cx="35892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54D13B6-5D47-4342-AE7D-6E53AE9D62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AA3F283-0871-412B-8A65-5C27135FA311}" type="datetime1">
              <a:rPr lang="en-GB" smtClean="0"/>
              <a:t>25/04/2023</a:t>
            </a:fld>
            <a:endParaRPr lang="en-GB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04AC3241-D38F-486C-A52D-8F4AF51C70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6540032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BFA9F9E2-0E4E-4885-BB6E-89C9B4A00F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DB260E7-5145-4D60-B0FD-D666309BC82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9998" y="654010"/>
            <a:ext cx="7523997" cy="938253"/>
          </a:xfrm>
        </p:spPr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41627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30F3B86-9DC3-4846-A1AC-7D66924C2E85}"/>
              </a:ext>
            </a:extLst>
          </p:cNvPr>
          <p:cNvCxnSpPr>
            <a:cxnSpLocks/>
          </p:cNvCxnSpPr>
          <p:nvPr userDrawn="1"/>
        </p:nvCxnSpPr>
        <p:spPr>
          <a:xfrm>
            <a:off x="8067982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302000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301999" y="1829496"/>
            <a:ext cx="3589198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573133-6D27-4CF6-9680-4BBF4FB964AB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251198" y="1829496"/>
            <a:ext cx="3582001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AB6B10-3B1D-4A83-ABAF-2B5A7A4DE682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67BCEC0-92C2-4FF9-A782-344903368E13}" type="datetime1">
              <a:rPr lang="en-GB" smtClean="0"/>
              <a:t>25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90EB1FC-C5EB-4C51-82E0-EA7BDC127E1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B3EF062-88CB-43A8-9F24-FA8FE9948D5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Lav dynamik">
            <a:extLst>
              <a:ext uri="{FF2B5EF4-FFF2-40B4-BE49-F238E27FC236}">
                <a16:creationId xmlns:a16="http://schemas.microsoft.com/office/drawing/2014/main" id="{1107FA97-AB49-4F73-B2DC-C8F68A25BF4B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553665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14D1594-E68D-46B5-98E0-BADEBF2D8E2F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23225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pebble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3942000" cy="6861600"/>
          </a:xfrm>
          <a:prstGeom prst="rect">
            <a:avLst/>
          </a:prstGeom>
          <a:solidFill>
            <a:srgbClr val="E3E1D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3211693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047831-B728-45B5-9E64-16620CFD57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5A58E6-12DB-4BF0-8165-AE5E60E9367A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8EB497-E060-4BFF-B186-5D99D377E5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6DF8674-639A-429C-8B67-B36876945C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Lav dynamik">
            <a:extLst>
              <a:ext uri="{FF2B5EF4-FFF2-40B4-BE49-F238E27FC236}">
                <a16:creationId xmlns:a16="http://schemas.microsoft.com/office/drawing/2014/main" id="{25BA861B-AC5B-40E5-BBC1-791F84A5A56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93307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04988D6-6DD0-4C39-8AE1-A7E25B5D1BF4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00541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 bwMode="white"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DC7F6929-E9B5-46A3-B5E9-6150C85426CE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4" y="6438798"/>
            <a:ext cx="7528571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B50B2CC-7292-40E5-983B-8C9FE3719D3D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76A8F7E-A651-41D6-98A1-26DD4B538840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668621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8250000" y="0"/>
            <a:ext cx="394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620504" y="654050"/>
            <a:ext cx="3211693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59FA29BE-106E-4609-97DE-EDE0B0C087F7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12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44C8BD0-DD5C-4489-9629-555B91865A6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58775" y="1829496"/>
            <a:ext cx="7525224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4746200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9240000" y="0"/>
            <a:ext cx="295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851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599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9606001" y="654050"/>
            <a:ext cx="2225637" cy="5470246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BF0EDC-1BA0-46A5-AFF6-FF8FC35482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3EFAF684-C611-4113-B7D5-C3E527F22C4F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7527600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446710-E8D4-486F-90DE-EC9771FBA2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DEF9E6FF-7726-40A8-94EA-A29CB944A473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773599" y="1829496"/>
            <a:ext cx="41004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6180825-6800-4756-8533-D472E6030F49}"/>
              </a:ext>
            </a:extLst>
          </p:cNvPr>
          <p:cNvCxnSpPr>
            <a:cxnSpLocks/>
          </p:cNvCxnSpPr>
          <p:nvPr userDrawn="1"/>
        </p:nvCxnSpPr>
        <p:spPr>
          <a:xfrm>
            <a:off x="4617221" y="1829775"/>
            <a:ext cx="0" cy="4294800"/>
          </a:xfrm>
          <a:prstGeom prst="line">
            <a:avLst/>
          </a:prstGeom>
          <a:ln w="6350">
            <a:solidFill>
              <a:srgbClr val="B1B2B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83064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756EBC4B-94DD-497B-89B0-BFABB76B7F8D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C4B04AE4-03BB-4174-AD21-7567A4C959F4}" type="datetime1">
              <a:rPr lang="en-GB" smtClean="0"/>
              <a:t>25/04/2023</a:t>
            </a:fld>
            <a:endParaRPr lang="en-GB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278ED99F-3EB8-45AB-B54D-DDBD71FB069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9" y="654050"/>
            <a:ext cx="7524000" cy="938213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FC42D2E8-535A-4E76-941E-2AB83D872ABF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25000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BB3993-746A-4812-B604-1CB12E7AB3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6542737" cy="1440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59202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394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97496" y="654050"/>
            <a:ext cx="7524000" cy="936000"/>
          </a:xfrm>
        </p:spPr>
        <p:txBody>
          <a:bodyPr/>
          <a:lstStyle/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297496" y="1829496"/>
            <a:ext cx="7524000" cy="4296001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7C7DB29-13FA-4B09-A099-DDC9A23701C3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A46E679-721E-4A44-A034-B3833441D488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1B73E84-2C35-47EE-9E5D-0C16556B1C9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303713" y="6438798"/>
            <a:ext cx="5916287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A7A470A-F824-4C76-B4D6-585485AA2DE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0505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8">
          <p15:clr>
            <a:srgbClr val="FBAE40"/>
          </p15:clr>
        </p15:guide>
        <p15:guide id="2" pos="248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C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ED06D66A-00D9-479B-9856-27577BF36107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55418" y="-1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B1AB11E3-DCD9-468D-AF31-A1154B63730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1 h 6861600"/>
              <a:gd name="connsiteX5" fmla="*/ 5915025 w 12193200"/>
              <a:gd name="connsiteY5" fmla="*/ 6858001 h 6861600"/>
              <a:gd name="connsiteX6" fmla="*/ 5915025 w 12193200"/>
              <a:gd name="connsiteY6" fmla="*/ 4077093 h 6861600"/>
              <a:gd name="connsiteX7" fmla="*/ 3519949 w 12193200"/>
              <a:gd name="connsiteY7" fmla="*/ 4077093 h 6861600"/>
              <a:gd name="connsiteX8" fmla="*/ 3519949 w 12193200"/>
              <a:gd name="connsiteY8" fmla="*/ 2975066 h 6861600"/>
              <a:gd name="connsiteX9" fmla="*/ 1 w 12193200"/>
              <a:gd name="connsiteY9" fmla="*/ 2975066 h 6861600"/>
              <a:gd name="connsiteX10" fmla="*/ 1 w 12193200"/>
              <a:gd name="connsiteY10" fmla="*/ 4077093 h 6861600"/>
              <a:gd name="connsiteX11" fmla="*/ 0 w 12193200"/>
              <a:gd name="connsiteY11" fmla="*/ 4077093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1"/>
                </a:lnTo>
                <a:lnTo>
                  <a:pt x="5915025" y="6858001"/>
                </a:lnTo>
                <a:lnTo>
                  <a:pt x="5915025" y="4077093"/>
                </a:lnTo>
                <a:lnTo>
                  <a:pt x="3519949" y="4077093"/>
                </a:lnTo>
                <a:lnTo>
                  <a:pt x="3519949" y="2975066"/>
                </a:lnTo>
                <a:lnTo>
                  <a:pt x="1" y="2975066"/>
                </a:lnTo>
                <a:lnTo>
                  <a:pt x="1" y="4077093"/>
                </a:lnTo>
                <a:lnTo>
                  <a:pt x="0" y="4077093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4472085"/>
            <a:ext cx="4734000" cy="1176240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D4561A69-5067-410B-91C5-BE4B74B22D0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860800"/>
            <a:ext cx="4734000" cy="544705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pic>
        <p:nvPicPr>
          <p:cNvPr id="14" name="Logo">
            <a:extLst>
              <a:ext uri="{FF2B5EF4-FFF2-40B4-BE49-F238E27FC236}">
                <a16:creationId xmlns:a16="http://schemas.microsoft.com/office/drawing/2014/main" id="{B01D38AB-220F-4FC4-8219-927BC28D87C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361634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6716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6" hidden="1">
            <a:extLst>
              <a:ext uri="{FF2B5EF4-FFF2-40B4-BE49-F238E27FC236}">
                <a16:creationId xmlns:a16="http://schemas.microsoft.com/office/drawing/2014/main" id="{B362E88C-9EAD-4C11-BE6B-5CB3B41E802B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F6C1ADEE-7B52-423A-9878-0398FEFAF71F}" type="datetime1">
              <a:rPr lang="en-GB" smtClean="0"/>
              <a:t>25/04/2023</a:t>
            </a:fld>
            <a:endParaRPr lang="en-GB"/>
          </a:p>
        </p:txBody>
      </p:sp>
      <p:sp>
        <p:nvSpPr>
          <p:cNvPr id="9" name="Slide Number Placeholder 10" hidden="1">
            <a:extLst>
              <a:ext uri="{FF2B5EF4-FFF2-40B4-BE49-F238E27FC236}">
                <a16:creationId xmlns:a16="http://schemas.microsoft.com/office/drawing/2014/main" id="{42646B51-B8EC-41E6-905C-2EA91C894C8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0800" y="0"/>
            <a:ext cx="69012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4573774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4573774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1043"/>
            <a:ext cx="3588036" cy="221755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5563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12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34AB29C-AE28-49BA-8CB9-70E6E1E1738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9284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89755" y="654051"/>
            <a:ext cx="6531741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289755" y="3352800"/>
            <a:ext cx="6531741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954FEB-C389-4653-B226-8CADC584E9A4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3FD627AC-F023-4E38-BBE2-8CC6A4B15F9B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03BFA0-A0B2-46DF-BB77-1FCE2156E1B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289755" y="6438798"/>
            <a:ext cx="4930245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4752393-FFA4-4674-9424-10C04085B8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8981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29">
          <p15:clr>
            <a:srgbClr val="FBAE40"/>
          </p15:clr>
        </p15:guide>
        <p15:guide id="2" pos="310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and image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35C0182F-ADAB-42FE-8E3F-6E031EAC242C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791AE312-9C38-4B88-A1BD-03872F0FCB4A}" type="datetime1">
              <a:rPr lang="en-GB" smtClean="0"/>
              <a:t>25/04/2023</a:t>
            </a:fld>
            <a:endParaRPr lang="en-GB"/>
          </a:p>
        </p:txBody>
      </p:sp>
      <p:sp>
        <p:nvSpPr>
          <p:cNvPr id="16" name="Slide Number Placeholder 10" hidden="1">
            <a:extLst>
              <a:ext uri="{FF2B5EF4-FFF2-40B4-BE49-F238E27FC236}">
                <a16:creationId xmlns:a16="http://schemas.microsoft.com/office/drawing/2014/main" id="{1B428ADB-22C2-4C2B-9198-91AE2BA16AF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901198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367354"/>
            <a:ext cx="5198435" cy="2154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Lav dynamik">
            <a:extLst>
              <a:ext uri="{FF2B5EF4-FFF2-40B4-BE49-F238E27FC236}">
                <a16:creationId xmlns:a16="http://schemas.microsoft.com/office/drawing/2014/main" id="{1A0DCCFC-0F80-4FEA-BB6A-651AF6A10A44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7515676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cy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FEDDE2A4-F6B9-48F4-9D70-713FCBC801A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50802" y="654051"/>
            <a:ext cx="618480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50802" y="3352800"/>
            <a:ext cx="618480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8D1D58-AB37-4343-ADE9-EEBE954DF792}" type="datetime1">
              <a:rPr lang="en-GB" smtClean="0"/>
              <a:t>25/04/2023</a:t>
            </a:fld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7920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-2" y="0"/>
            <a:ext cx="6901200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58225" y="654051"/>
            <a:ext cx="4563272" cy="2349448"/>
          </a:xfrm>
        </p:spPr>
        <p:txBody>
          <a:bodyPr/>
          <a:lstStyle>
            <a:lvl1pPr>
              <a:lnSpc>
                <a:spcPct val="91000"/>
              </a:lnSpc>
              <a:defRPr sz="4100"/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58225" y="3352800"/>
            <a:ext cx="4563272" cy="2772697"/>
          </a:xfrm>
        </p:spPr>
        <p:txBody>
          <a:bodyPr/>
          <a:lstStyle>
            <a:lvl1pPr>
              <a:defRPr/>
            </a:lvl1pPr>
            <a:lvl5pPr>
              <a:defRPr/>
            </a:lvl5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03407EFD-739B-433D-AABC-B74FC5DD659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60000" y="654050"/>
            <a:ext cx="6184172" cy="547024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0C03372A-7FA0-487B-AC8F-173641FF69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093368-26E3-4532-8FD8-7B783022E688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D5FEECF7-4538-440F-96EA-C21501C6A3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343963" y="6438798"/>
            <a:ext cx="5200209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804AFF32-2AA2-423E-A356-4B61B59F59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54F492D0-8979-441C-B481-C115B7F6449C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6330856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cyan (B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-1" y="0"/>
            <a:ext cx="4303713" cy="68616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64FF4A83-F11D-4BA4-ACA2-28A4736CF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1E3A26-CACC-472F-999E-6CEDC51DAFFB}" type="datetime1">
              <a:rPr lang="en-GB" smtClean="0"/>
              <a:t>25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6FF72C8-12DE-429B-98AC-66256B00C4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6" y="6438798"/>
            <a:ext cx="5558003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F8271F6-50AB-44A1-9998-6F78F158F9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6D075D77-F3B6-4EB5-9E52-AB5745AED53F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140931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5290801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5290800" y="0"/>
            <a:ext cx="69012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648399" y="654050"/>
            <a:ext cx="6184800" cy="2349449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48399" y="3352800"/>
            <a:ext cx="6184800" cy="2772697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C9341C1-1ACE-4D5F-954C-E2A9E304D58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923212C7-A548-4370-9C24-272889F12011}" type="datetime1">
              <a:rPr lang="en-GB" smtClean="0"/>
              <a:t>25/04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3E03AEF-76B9-47EF-ADA3-08AB46B868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5648399" y="6438798"/>
            <a:ext cx="4571601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20036FE6-E32E-4510-9DFD-1E158523278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96277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peb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0"/>
            <a:ext cx="3584974" cy="1175446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1600"/>
            <a:ext cx="3584974" cy="2772000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90BD52F-5F30-4092-B6BD-BC68EBA80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3CB94-5BA6-4B5C-8025-21D6F4E52D5E}" type="datetime1">
              <a:rPr lang="en-GB" smtClean="0"/>
              <a:t>25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463160CC-677A-4E30-9B6F-4DD30FA628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BF8DDD7-7966-45A0-AD48-A99BD1B496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A4A15578-12D5-4CA3-AE58-36E6DB03E8B8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959807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9D73515-F0A6-4B30-A688-5D4CF44B9186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61225" y="6367354"/>
            <a:ext cx="2957513" cy="215444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 bwMode="white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64352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 key message oc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white"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0"/>
            <a:ext cx="7170004" cy="5470246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8AE0849-ADA5-4C35-BD3D-32AEC0275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F065B1-CCC8-4072-99B6-C71232109F4F}" type="datetime1">
              <a:rPr lang="en-GB" smtClean="0"/>
              <a:t>25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71AB1FEE-9EFB-4823-A0D2-ECFD3E9054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57725" y="6438798"/>
            <a:ext cx="5562275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14A6979C-ADCB-4300-A9EA-07138DC93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B1EEDA58-6175-4232-A50D-8C1F8D8DDEA6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30830770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4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image (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D3E1E10-4E6B-4C9C-B68B-DC96BC56ABFC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392B3FA-4A45-49A0-A3FB-2000E37DA9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custGeom>
            <a:avLst/>
            <a:gdLst>
              <a:gd name="connsiteX0" fmla="*/ 0 w 12193200"/>
              <a:gd name="connsiteY0" fmla="*/ 0 h 6861600"/>
              <a:gd name="connsiteX1" fmla="*/ 12193200 w 12193200"/>
              <a:gd name="connsiteY1" fmla="*/ 0 h 6861600"/>
              <a:gd name="connsiteX2" fmla="*/ 12193200 w 12193200"/>
              <a:gd name="connsiteY2" fmla="*/ 6861600 h 6861600"/>
              <a:gd name="connsiteX3" fmla="*/ 0 w 12193200"/>
              <a:gd name="connsiteY3" fmla="*/ 6861600 h 6861600"/>
              <a:gd name="connsiteX4" fmla="*/ 0 w 12193200"/>
              <a:gd name="connsiteY4" fmla="*/ 6858002 h 6861600"/>
              <a:gd name="connsiteX5" fmla="*/ 5762624 w 12193200"/>
              <a:gd name="connsiteY5" fmla="*/ 6858002 h 6861600"/>
              <a:gd name="connsiteX6" fmla="*/ 5762624 w 12193200"/>
              <a:gd name="connsiteY6" fmla="*/ 6858001 h 6861600"/>
              <a:gd name="connsiteX7" fmla="*/ 5915025 w 12193200"/>
              <a:gd name="connsiteY7" fmla="*/ 6858001 h 6861600"/>
              <a:gd name="connsiteX8" fmla="*/ 5915025 w 12193200"/>
              <a:gd name="connsiteY8" fmla="*/ 4501189 h 6861600"/>
              <a:gd name="connsiteX9" fmla="*/ 5762624 w 12193200"/>
              <a:gd name="connsiteY9" fmla="*/ 4501189 h 6861600"/>
              <a:gd name="connsiteX10" fmla="*/ 5762624 w 12193200"/>
              <a:gd name="connsiteY10" fmla="*/ 4495802 h 6861600"/>
              <a:gd name="connsiteX11" fmla="*/ 3519949 w 12193200"/>
              <a:gd name="connsiteY11" fmla="*/ 4495802 h 6861600"/>
              <a:gd name="connsiteX12" fmla="*/ 3519949 w 12193200"/>
              <a:gd name="connsiteY12" fmla="*/ 3355681 h 6861600"/>
              <a:gd name="connsiteX13" fmla="*/ 1 w 12193200"/>
              <a:gd name="connsiteY13" fmla="*/ 3355681 h 6861600"/>
              <a:gd name="connsiteX14" fmla="*/ 1 w 12193200"/>
              <a:gd name="connsiteY14" fmla="*/ 3362327 h 6861600"/>
              <a:gd name="connsiteX15" fmla="*/ 0 w 12193200"/>
              <a:gd name="connsiteY15" fmla="*/ 3362327 h 686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2193200" h="6861600">
                <a:moveTo>
                  <a:pt x="0" y="0"/>
                </a:moveTo>
                <a:lnTo>
                  <a:pt x="12193200" y="0"/>
                </a:lnTo>
                <a:lnTo>
                  <a:pt x="12193200" y="6861600"/>
                </a:lnTo>
                <a:lnTo>
                  <a:pt x="0" y="6861600"/>
                </a:lnTo>
                <a:lnTo>
                  <a:pt x="0" y="6858002"/>
                </a:lnTo>
                <a:lnTo>
                  <a:pt x="5762624" y="6858002"/>
                </a:lnTo>
                <a:lnTo>
                  <a:pt x="5762624" y="6858001"/>
                </a:lnTo>
                <a:lnTo>
                  <a:pt x="5915025" y="6858001"/>
                </a:lnTo>
                <a:lnTo>
                  <a:pt x="5915025" y="4501189"/>
                </a:lnTo>
                <a:lnTo>
                  <a:pt x="5762624" y="4501189"/>
                </a:lnTo>
                <a:lnTo>
                  <a:pt x="5762624" y="4495802"/>
                </a:lnTo>
                <a:lnTo>
                  <a:pt x="3519949" y="4495802"/>
                </a:lnTo>
                <a:lnTo>
                  <a:pt x="3519949" y="3355681"/>
                </a:lnTo>
                <a:lnTo>
                  <a:pt x="1" y="3355681"/>
                </a:lnTo>
                <a:lnTo>
                  <a:pt x="1" y="3362327"/>
                </a:lnTo>
                <a:lnTo>
                  <a:pt x="0" y="3362327"/>
                </a:lnTo>
                <a:close/>
              </a:path>
            </a:pathLst>
          </a:custGeom>
          <a:solidFill>
            <a:srgbClr val="F9F9F7"/>
          </a:solidFill>
        </p:spPr>
        <p:txBody>
          <a:bodyPr wrap="square" lIns="72000" tIns="72000" bIns="72000" anchor="t" anchorCtr="0">
            <a:noAutofit/>
          </a:bodyPr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1" y="4822763"/>
            <a:ext cx="4734551" cy="929108"/>
          </a:xfrm>
        </p:spPr>
        <p:txBody>
          <a:bodyPr anchor="t" anchorCtr="0"/>
          <a:lstStyle>
            <a:lvl1pPr algn="l">
              <a:lnSpc>
                <a:spcPct val="91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FE897BB9-C0DA-41AA-90EC-DB8C5FCE35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1" y="5860800"/>
            <a:ext cx="4734551" cy="424197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4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DA2544AE-9170-440D-A7DE-3D8825007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1" y="3777917"/>
            <a:ext cx="2617710" cy="327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321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6F462CB-49C6-43D4-8FBC-ABA17853FE2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9036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15" name="Background">
            <a:extLst>
              <a:ext uri="{FF2B5EF4-FFF2-40B4-BE49-F238E27FC236}">
                <a16:creationId xmlns:a16="http://schemas.microsoft.com/office/drawing/2014/main" id="{CFA65BDB-B1EC-4EF2-BD12-F97D9D8E2041}"/>
              </a:ext>
            </a:extLst>
          </p:cNvPr>
          <p:cNvSpPr/>
          <p:nvPr userDrawn="1"/>
        </p:nvSpPr>
        <p:spPr>
          <a:xfrm>
            <a:off x="6903600" y="0"/>
            <a:ext cx="52884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60312" y="654051"/>
            <a:ext cx="4575290" cy="2349448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260312" y="3352800"/>
            <a:ext cx="4575290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871951-D21A-4AD7-B0ED-D9EDFD6FD215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4C0216E3-463B-4CB8-BE43-497F498BEEEE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50D0E1-89DD-41BB-9E30-0E38A07068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253288" y="6367354"/>
            <a:ext cx="2965450" cy="215444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D78F7CD-9DD3-4685-B0A9-7CE0ABF9F1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929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key message gra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ackground">
            <a:extLst>
              <a:ext uri="{FF2B5EF4-FFF2-40B4-BE49-F238E27FC236}">
                <a16:creationId xmlns:a16="http://schemas.microsoft.com/office/drawing/2014/main" id="{5B4101BC-2F6D-4C7D-BAF1-B5E98F520306}"/>
              </a:ext>
            </a:extLst>
          </p:cNvPr>
          <p:cNvSpPr/>
          <p:nvPr userDrawn="1"/>
        </p:nvSpPr>
        <p:spPr>
          <a:xfrm>
            <a:off x="0" y="0"/>
            <a:ext cx="43020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0000" y="654051"/>
            <a:ext cx="3584974" cy="2136774"/>
          </a:xfrm>
        </p:spPr>
        <p:txBody>
          <a:bodyPr/>
          <a:lstStyle>
            <a:lvl1pPr>
              <a:lnSpc>
                <a:spcPct val="91000"/>
              </a:lnSpc>
              <a:defRPr sz="41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60000" y="3352800"/>
            <a:ext cx="3584974" cy="2772697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  <a:lvl6pPr>
              <a:defRPr>
                <a:solidFill>
                  <a:schemeClr val="accent2"/>
                </a:solidFill>
              </a:defRPr>
            </a:lvl6pPr>
            <a:lvl7pPr>
              <a:defRPr>
                <a:solidFill>
                  <a:schemeClr val="accent2"/>
                </a:solidFill>
              </a:defRPr>
            </a:lvl7pPr>
            <a:lvl8pPr>
              <a:defRPr>
                <a:solidFill>
                  <a:schemeClr val="accent2"/>
                </a:solidFill>
              </a:defRPr>
            </a:lvl8pPr>
            <a:lvl9pPr>
              <a:defRPr>
                <a:solidFill>
                  <a:schemeClr val="accent2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17CE2ECF-AF40-4809-BD16-DFC59D53926E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661997" y="654051"/>
            <a:ext cx="7170004" cy="5470245"/>
          </a:xfrm>
        </p:spPr>
        <p:txBody>
          <a:bodyPr/>
          <a:lstStyle>
            <a:lvl1pPr>
              <a:defRPr>
                <a:solidFill>
                  <a:srgbClr val="333333"/>
                </a:solidFill>
              </a:defRPr>
            </a:lvl1pPr>
            <a:lvl2pPr>
              <a:defRPr>
                <a:solidFill>
                  <a:srgbClr val="333333"/>
                </a:solidFill>
              </a:defRPr>
            </a:lvl2pPr>
            <a:lvl3pPr>
              <a:defRPr>
                <a:solidFill>
                  <a:srgbClr val="333333"/>
                </a:solidFill>
              </a:defRPr>
            </a:lvl3pPr>
            <a:lvl4pPr>
              <a:defRPr>
                <a:solidFill>
                  <a:srgbClr val="333333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  <a:lvl6pPr>
              <a:defRPr>
                <a:solidFill>
                  <a:schemeClr val="tx2"/>
                </a:solidFill>
              </a:defRPr>
            </a:lvl6pPr>
            <a:lvl7pPr>
              <a:defRPr>
                <a:solidFill>
                  <a:srgbClr val="333333"/>
                </a:solidFill>
              </a:defRPr>
            </a:lvl7pPr>
            <a:lvl8pPr>
              <a:defRPr>
                <a:solidFill>
                  <a:srgbClr val="333333"/>
                </a:solidFill>
              </a:defRPr>
            </a:lvl8pPr>
            <a:lvl9pPr>
              <a:defRPr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text </a:t>
            </a:r>
            <a:br>
              <a:rPr lang="en-GB" noProof="0"/>
            </a:br>
            <a:r>
              <a:rPr lang="en-GB" noProof="0"/>
              <a:t>Enter &amp; TAB for next text level</a:t>
            </a:r>
            <a:br>
              <a:rPr lang="en-GB" noProof="0"/>
            </a:br>
            <a:r>
              <a:rPr lang="en-GB" noProof="0"/>
              <a:t>SHIFT+TAB to go back in levels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D33C9E-6521-4DF1-93A8-375CEAEC2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EE3078-35F5-4450-8DDB-1711F663AF0B}" type="datetime1">
              <a:rPr lang="en-GB" smtClean="0"/>
              <a:t>25/04/2023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8023F77A-3C54-4C93-BB36-E29AEE7A13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661997" y="6438798"/>
            <a:ext cx="5558003" cy="144000"/>
          </a:xfrm>
        </p:spPr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9CE16FDD-BBE2-4F3D-ADDA-ED4FA9CE90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Lav dynamik">
            <a:extLst>
              <a:ext uri="{FF2B5EF4-FFF2-40B4-BE49-F238E27FC236}">
                <a16:creationId xmlns:a16="http://schemas.microsoft.com/office/drawing/2014/main" id="{F6A1A2FD-ED95-4DEE-9A2C-FB659D867A09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221732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9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6" hidden="1">
            <a:extLst>
              <a:ext uri="{FF2B5EF4-FFF2-40B4-BE49-F238E27FC236}">
                <a16:creationId xmlns:a16="http://schemas.microsoft.com/office/drawing/2014/main" id="{B1DFE0D9-0BA4-4026-8A37-2B9467024CB1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87CEE0B2-D606-4C87-BD16-18AC95AF549F}" type="datetime1">
              <a:rPr lang="en-GB" smtClean="0"/>
              <a:t>25/04/2023</a:t>
            </a:fld>
            <a:endParaRPr lang="en-GB"/>
          </a:p>
        </p:txBody>
      </p:sp>
      <p:sp>
        <p:nvSpPr>
          <p:cNvPr id="10" name="Slide Number Placeholder 10" hidden="1">
            <a:extLst>
              <a:ext uri="{FF2B5EF4-FFF2-40B4-BE49-F238E27FC236}">
                <a16:creationId xmlns:a16="http://schemas.microsoft.com/office/drawing/2014/main" id="{B99F8788-0F5A-48AA-8CA3-6BDF988C91F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4D05E2D1-BF97-4F56-A04F-48768FE304D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Background">
            <a:extLst>
              <a:ext uri="{FF2B5EF4-FFF2-40B4-BE49-F238E27FC236}">
                <a16:creationId xmlns:a16="http://schemas.microsoft.com/office/drawing/2014/main" id="{AB09C097-1BD9-4120-AB83-44067D1B1490}"/>
              </a:ext>
            </a:extLst>
          </p:cNvPr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A3ADEAA8-6B38-44C6-9245-01A3512C10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6858000"/>
          </a:xfrm>
          <a:solidFill>
            <a:srgbClr val="F9F9F7"/>
          </a:solidFill>
        </p:spPr>
        <p:txBody>
          <a:bodyPr lIns="72000" tIns="72000" rIns="72000" anchor="t" anchorCtr="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using the Insert tab – Pictures or from Templafy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197476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075B1503-1805-4DC5-AF6E-FDE48DB177B4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Lav dynamik">
            <a:extLst>
              <a:ext uri="{FF2B5EF4-FFF2-40B4-BE49-F238E27FC236}">
                <a16:creationId xmlns:a16="http://schemas.microsoft.com/office/drawing/2014/main" id="{01B40D1A-C761-49C0-BCA5-BA2972BD1B0E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bg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4808113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24941B2-5F7F-4165-B2DE-D010B7A4A5F5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D556956A-96D6-4D98-8C29-19A32FDF3B33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40044012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reaker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accent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accent2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3D603A-7559-4371-ACE3-B12E20084B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E373EE1C-D19B-4EA0-9A15-DED1DEE449B9}" type="datetime1">
              <a:rPr lang="en-GB" smtClean="0"/>
              <a:t>25/04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18BCD5-ACF2-4924-B2F7-A3E3F0EBD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EB807C-31DA-4CEA-947C-A0D8107B02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Lav dynamik">
            <a:extLst>
              <a:ext uri="{FF2B5EF4-FFF2-40B4-BE49-F238E27FC236}">
                <a16:creationId xmlns:a16="http://schemas.microsoft.com/office/drawing/2014/main" id="{0224D57B-23DE-43CD-A5E3-B1FD72D6C8DA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accent2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7090312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6" hidden="1">
            <a:extLst>
              <a:ext uri="{FF2B5EF4-FFF2-40B4-BE49-F238E27FC236}">
                <a16:creationId xmlns:a16="http://schemas.microsoft.com/office/drawing/2014/main" id="{7C5422F3-5F2C-463F-A5A3-46F0157D824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1466C188-1D45-4F08-8DB4-23F6002C2B91}" type="datetime1">
              <a:rPr lang="en-GB" smtClean="0"/>
              <a:t>25/04/2023</a:t>
            </a:fld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98C6F70D-EDED-4332-A39E-FEB70236951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3" name="Footer Placeholder 8" hidden="1">
            <a:extLst>
              <a:ext uri="{FF2B5EF4-FFF2-40B4-BE49-F238E27FC236}">
                <a16:creationId xmlns:a16="http://schemas.microsoft.com/office/drawing/2014/main" id="{967103C1-9540-4364-BCE9-15A87F07812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0" name="Background">
            <a:extLst>
              <a:ext uri="{FF2B5EF4-FFF2-40B4-BE49-F238E27FC236}">
                <a16:creationId xmlns:a16="http://schemas.microsoft.com/office/drawing/2014/main" id="{A870D1C3-7E2E-4C71-B669-3496D73E1AB6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5D6EC3A-345A-46A8-866F-80BE98B51EA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/>
              <a:t>Mark placeholder to insert image using the Insert tab – Pictures or from Templafy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937409C-206B-454B-8F34-A6BF4D2A9B2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50000" y="1122363"/>
            <a:ext cx="8509963" cy="1984631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Breaker text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AAC92615-713B-4965-8112-B0AF203E307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350000" y="3503718"/>
            <a:ext cx="3939550" cy="1152000"/>
          </a:xfrm>
        </p:spPr>
        <p:txBody>
          <a:bodyPr lIns="3600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Verdana" panose="020B0604030504040204" pitchFamily="34" charset="0"/>
              <a:buChar char="​"/>
              <a:defRPr sz="160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defRPr sz="16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buFont typeface="Verdana" panose="020B0604030504040204" pitchFamily="34" charset="0"/>
              <a:buChar char="​"/>
              <a:tabLst/>
              <a:defRPr sz="1600">
                <a:solidFill>
                  <a:schemeClr val="tx1"/>
                </a:solidFill>
              </a:defRPr>
            </a:lvl9pPr>
          </a:lstStyle>
          <a:p>
            <a:r>
              <a:rPr lang="en-GB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236043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/>
              <a:t>Click to add title</a:t>
            </a:r>
            <a:endParaRPr lang="en-GB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3905E07-E31B-4F3D-8575-C55D9D8896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4C8F4-6B6A-48C1-B023-792B6BA54AED}" type="datetime1">
              <a:rPr lang="en-GB" smtClean="0"/>
              <a:t>25/04/2023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3E2E6126-5A1A-4F07-8EC7-3F74BED72C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FF46BFE-D75C-482A-B035-34180EC5D4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078390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D2F7A9-B0D3-418A-9805-E4833A53A7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247F8E-8C20-40E4-A53C-3DA358D8C9A7}" type="datetime1">
              <a:rPr lang="en-GB" smtClean="0"/>
              <a:t>25/04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605BC24-963D-470F-A870-C18B9237C9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9638358-50F7-4700-A532-2128C5051D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485266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A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8E8C12B2-0AE5-428E-985F-E18D4DA17AC7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360000" y="654050"/>
            <a:ext cx="11471638" cy="938213"/>
          </a:xfrm>
        </p:spPr>
        <p:txBody>
          <a:bodyPr anchor="t" anchorCtr="0"/>
          <a:lstStyle>
            <a:lvl1pPr algn="l">
              <a:defRPr sz="6000">
                <a:solidFill>
                  <a:schemeClr val="bg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Thank you!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7D419BB8-DA67-44EC-8B75-16DF8EF149E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add Name Last name</a:t>
            </a:r>
            <a:br>
              <a:rPr lang="en-GB"/>
            </a:br>
            <a:r>
              <a:rPr lang="en-GB"/>
              <a:t>Job title, Department</a:t>
            </a:r>
            <a:br>
              <a:rPr lang="en-GB"/>
            </a:br>
            <a:r>
              <a:rPr lang="en-GB"/>
              <a:t>e-mail</a:t>
            </a:r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E45963F1-9B5A-42FF-AF44-D9A92C9240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64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4252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right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65259D24-E6A6-4D69-90CB-83073E8387B2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  <a:p>
            <a:endParaRPr lang="en-GB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F1CD8122-E16A-4EEC-B42A-6AF75D66617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29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2857538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A2083184-4833-48EE-B693-FB3137B41B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add Name Last name</a:t>
            </a:r>
            <a:br>
              <a:rPr lang="en-GB"/>
            </a:br>
            <a:r>
              <a:rPr lang="en-GB"/>
              <a:t>Job title, Department</a:t>
            </a:r>
            <a:br>
              <a:rPr lang="en-GB"/>
            </a:br>
            <a:r>
              <a:rPr lang="en-GB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398021761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bright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D9DD72BF-EDEC-441F-B5D6-F68832F343C4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Background">
            <a:extLst>
              <a:ext uri="{FF2B5EF4-FFF2-40B4-BE49-F238E27FC236}">
                <a16:creationId xmlns:a16="http://schemas.microsoft.com/office/drawing/2014/main" id="{6E4254E8-0058-4B51-AE94-DF452D313C5C}"/>
              </a:ext>
            </a:extLst>
          </p:cNvPr>
          <p:cNvSpPr/>
          <p:nvPr userDrawn="1"/>
        </p:nvSpPr>
        <p:spPr>
          <a:xfrm>
            <a:off x="0" y="0"/>
            <a:ext cx="121932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AFBD548-0737-4492-BE87-1A3682008EB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58000"/>
          </a:xfrm>
          <a:solidFill>
            <a:schemeClr val="accent6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/>
              <a:t>Mark placeholder to insert image using the Insert tab – Pictures or from Templafy</a:t>
            </a:r>
          </a:p>
        </p:txBody>
      </p:sp>
      <p:sp>
        <p:nvSpPr>
          <p:cNvPr id="15" name="Text Placeholder logo">
            <a:extLst>
              <a:ext uri="{FF2B5EF4-FFF2-40B4-BE49-F238E27FC236}">
                <a16:creationId xmlns:a16="http://schemas.microsoft.com/office/drawing/2014/main" id="{93B5AFB1-79EB-42DA-8C67-9C34BAE10A4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800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1471638" cy="1174751"/>
          </a:xfrm>
        </p:spPr>
        <p:txBody>
          <a:bodyPr anchor="t" anchorCtr="0"/>
          <a:lstStyle>
            <a:lvl1pPr algn="l"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GB" noProof="0"/>
              <a:t>Click to add </a:t>
            </a:r>
            <a:r>
              <a:rPr lang="en-GB"/>
              <a:t>Thank you!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A17E5844-AA2E-48C4-91FF-39484DFE723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359999" y="1828800"/>
            <a:ext cx="4320000" cy="562252"/>
          </a:xfrm>
        </p:spPr>
        <p:txBody>
          <a:bodyPr/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000">
                <a:solidFill>
                  <a:srgbClr val="333333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5pPr>
            <a:lvl6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6pPr>
            <a:lvl7pPr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/>
              <a:t>Click to add Name Last name</a:t>
            </a:r>
            <a:br>
              <a:rPr lang="en-GB"/>
            </a:br>
            <a:r>
              <a:rPr lang="en-GB"/>
              <a:t>Job title, Department</a:t>
            </a:r>
            <a:br>
              <a:rPr lang="en-GB"/>
            </a:br>
            <a:r>
              <a:rPr lang="en-GB"/>
              <a:t>e-mail</a:t>
            </a:r>
          </a:p>
        </p:txBody>
      </p:sp>
    </p:spTree>
    <p:extLst>
      <p:ext uri="{BB962C8B-B14F-4D97-AF65-F5344CB8AC3E}">
        <p14:creationId xmlns:p14="http://schemas.microsoft.com/office/powerpoint/2010/main" val="22364773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B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A6F26645-C2A2-4B76-9EB3-5D9CA57B224A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00DC3440-E1C8-49D9-9C24-C57CA0F0CB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1371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(C)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3" hidden="1">
            <a:extLst>
              <a:ext uri="{FF2B5EF4-FFF2-40B4-BE49-F238E27FC236}">
                <a16:creationId xmlns:a16="http://schemas.microsoft.com/office/drawing/2014/main" id="{38B45A83-AD80-4AC8-A603-5DC2AFC3EB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00">
                <a:noFill/>
              </a:defRPr>
            </a:lvl1pPr>
          </a:lstStyle>
          <a:p>
            <a:fld id="{F25BA43C-8502-4266-A056-72866794E701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4" hidden="1">
            <a:extLst>
              <a:ext uri="{FF2B5EF4-FFF2-40B4-BE49-F238E27FC236}">
                <a16:creationId xmlns:a16="http://schemas.microsoft.com/office/drawing/2014/main" id="{E6681B86-2D19-4D3D-A83D-CCC19C2ECE3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5" hidden="1">
            <a:extLst>
              <a:ext uri="{FF2B5EF4-FFF2-40B4-BE49-F238E27FC236}">
                <a16:creationId xmlns:a16="http://schemas.microsoft.com/office/drawing/2014/main" id="{454ABD19-90F9-480D-A030-70CEC9079B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 flipV="1">
            <a:off x="0" y="6858000"/>
            <a:ext cx="0" cy="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00">
                <a:noFill/>
              </a:defRPr>
            </a:lvl1pPr>
          </a:lstStyle>
          <a:p>
            <a:fld id="{24C8C45C-947F-4981-8B3F-4F32E973C90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Background"/>
          <p:cNvSpPr/>
          <p:nvPr userDrawn="1"/>
        </p:nvSpPr>
        <p:spPr>
          <a:xfrm>
            <a:off x="0" y="0"/>
            <a:ext cx="12193200" cy="6861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err="1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C19CD149-890D-40C4-A7EE-82FC4C58D5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359021" y="1282751"/>
            <a:ext cx="4986000" cy="4247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22405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ser gu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FD69AAB-5376-40EF-9BC8-527076D40F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705420" y="4613272"/>
            <a:ext cx="995748" cy="2065891"/>
          </a:xfrm>
          <a:prstGeom prst="rect">
            <a:avLst/>
          </a:prstGeom>
        </p:spPr>
      </p:pic>
      <p:sp>
        <p:nvSpPr>
          <p:cNvPr id="23" name="Text Box 3">
            <a:extLst>
              <a:ext uri="{FF2B5EF4-FFF2-40B4-BE49-F238E27FC236}">
                <a16:creationId xmlns:a16="http://schemas.microsoft.com/office/drawing/2014/main" id="{19798472-DC87-414E-BC4E-CFAF99EF0ED7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345200" y="938540"/>
            <a:ext cx="2880000" cy="51860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PICTURES</a:t>
            </a:r>
            <a:br>
              <a:rPr lang="en-GB" sz="9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corporate picture from Templafy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Click the blu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mplafy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dropdown,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or 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mages </a:t>
            </a:r>
            <a:r>
              <a:rPr lang="en-GB" altLang="da-DK" sz="900" b="0" i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button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n the Templafy pane on the right side of the screen</a:t>
            </a:r>
            <a:endParaRPr lang="en-GB" altLang="da-DK" sz="90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lang="en-GB" altLang="da-DK" sz="900" b="0" baseline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 slides with pictureplaceholder, click on the icon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</a:p>
          <a:p>
            <a:pPr eaLnBrk="1" hangingPunct="1">
              <a:spcBef>
                <a:spcPts val="1200"/>
              </a:spcBef>
              <a:spcAft>
                <a:spcPts val="600"/>
              </a:spcAft>
              <a:defRPr/>
            </a:pP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op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change size or focus of the picture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want to scale the picture, hol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 down while dragging the corners of the pictur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f you delete the picture and insert a new one, the picture may lie in front of the text or graphic. If this happens, select the picture, right-click and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end to Back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sz="16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View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and set tick mark next to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Guides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INT: Alt + F9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or quick view of guides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ac: </a:t>
            </a:r>
            <a:r>
              <a:rPr lang="en-GB" sz="900" b="0" i="0">
                <a:solidFill>
                  <a:srgbClr val="333333"/>
                </a:solidFill>
                <a:effectLst/>
                <a:latin typeface="Verdana"/>
              </a:rPr>
              <a:t>⌘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+ option + ctrl + G</a:t>
            </a:r>
          </a:p>
        </p:txBody>
      </p:sp>
      <p:grpSp>
        <p:nvGrpSpPr>
          <p:cNvPr id="26" name="Gruppe 25">
            <a:extLst>
              <a:ext uri="{FF2B5EF4-FFF2-40B4-BE49-F238E27FC236}">
                <a16:creationId xmlns:a16="http://schemas.microsoft.com/office/drawing/2014/main" id="{1E29220A-15A7-4D74-97D3-C35C0B6650BA}"/>
              </a:ext>
            </a:extLst>
          </p:cNvPr>
          <p:cNvGrpSpPr/>
          <p:nvPr userDrawn="1"/>
        </p:nvGrpSpPr>
        <p:grpSpPr>
          <a:xfrm>
            <a:off x="7209816" y="1187437"/>
            <a:ext cx="676669" cy="997704"/>
            <a:chOff x="6442771" y="2574072"/>
            <a:chExt cx="676669" cy="997704"/>
          </a:xfrm>
        </p:grpSpPr>
        <p:pic>
          <p:nvPicPr>
            <p:cNvPr id="27" name="Billede 26">
              <a:extLst>
                <a:ext uri="{FF2B5EF4-FFF2-40B4-BE49-F238E27FC236}">
                  <a16:creationId xmlns:a16="http://schemas.microsoft.com/office/drawing/2014/main" id="{3A5D5234-21E3-4579-AE5E-A650C0CF9F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6442771" y="2574072"/>
              <a:ext cx="305786" cy="365851"/>
            </a:xfrm>
            <a:prstGeom prst="rect">
              <a:avLst/>
            </a:prstGeom>
          </p:spPr>
        </p:pic>
        <p:pic>
          <p:nvPicPr>
            <p:cNvPr id="38" name="Billede 37">
              <a:extLst>
                <a:ext uri="{FF2B5EF4-FFF2-40B4-BE49-F238E27FC236}">
                  <a16:creationId xmlns:a16="http://schemas.microsoft.com/office/drawing/2014/main" id="{C18E748C-FC83-400F-9C35-D988C1228010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/>
            <a:srcRect l="1432" t="16308" r="2422" b="1509"/>
            <a:stretch/>
          </p:blipFill>
          <p:spPr>
            <a:xfrm>
              <a:off x="6444587" y="2943287"/>
              <a:ext cx="674853" cy="628489"/>
            </a:xfrm>
            <a:prstGeom prst="rect">
              <a:avLst/>
            </a:prstGeom>
            <a:ln w="3175">
              <a:solidFill>
                <a:schemeClr val="bg1">
                  <a:lumMod val="95000"/>
                </a:schemeClr>
              </a:solidFill>
            </a:ln>
          </p:spPr>
        </p:pic>
      </p:grpSp>
      <p:pic>
        <p:nvPicPr>
          <p:cNvPr id="57" name="Picture 19">
            <a:extLst>
              <a:ext uri="{FF2B5EF4-FFF2-40B4-BE49-F238E27FC236}">
                <a16:creationId xmlns:a16="http://schemas.microsoft.com/office/drawing/2014/main" id="{E210FBD4-B8B9-4AFA-9670-2FEBAA1CF37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251578" y="3148530"/>
            <a:ext cx="313788" cy="543900"/>
          </a:xfrm>
          <a:prstGeom prst="rect">
            <a:avLst/>
          </a:prstGeom>
        </p:spPr>
      </p:pic>
      <p:sp>
        <p:nvSpPr>
          <p:cNvPr id="61" name="Text Box 4">
            <a:extLst>
              <a:ext uri="{FF2B5EF4-FFF2-40B4-BE49-F238E27FC236}">
                <a16:creationId xmlns:a16="http://schemas.microsoft.com/office/drawing/2014/main" id="{DD6A81B7-1FEE-46CF-A623-23E99CFEAFB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8345647" y="938540"/>
            <a:ext cx="2880000" cy="5016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&amp; FOOTER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o this at the very end to apply the changes on all slides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eader and Footer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(write the desired text, click date or page number from or to)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 to All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pply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if only used on one slide</a:t>
            </a: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16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PY/PASTE CONTENT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When copying old content to your new presentation, 2 options are available: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1. Best practice: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reate a slide in your new presentation and copy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piece of content at a time (e.g. copy all text from </a:t>
            </a:r>
            <a:r>
              <a:rPr lang="en-GB" altLang="da-DK" sz="900" b="0" i="0" u="sng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ne</a:t>
            </a:r>
            <a:r>
              <a:rPr lang="en-GB" altLang="da-DK" sz="900" b="0" i="0" u="none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extbox)</a:t>
            </a:r>
            <a:endParaRPr lang="en-GB" altLang="da-DK" sz="900" b="1" i="0" u="sng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2.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Or copy an entire slide into your new presentation and then choose a fitting layout. Remember to delete the old, wrong layouts (go to View &gt; Slidemaster and delete them)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SLIDE ELEMEN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sert predefined slides and elements from the Templafy button. Choo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 element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from the dropdown menu or from the buttons in the Templafy pane on the right side of the screen</a:t>
            </a:r>
            <a:endParaRPr lang="en-GB" altLang="da-DK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</p:txBody>
      </p:sp>
      <p:sp>
        <p:nvSpPr>
          <p:cNvPr id="65" name="Fast overskrift">
            <a:extLst>
              <a:ext uri="{FF2B5EF4-FFF2-40B4-BE49-F238E27FC236}">
                <a16:creationId xmlns:a16="http://schemas.microsoft.com/office/drawing/2014/main" id="{09C05D50-8477-4113-8B72-9C373B0FF9F9}"/>
              </a:ext>
            </a:extLst>
          </p:cNvPr>
          <p:cNvSpPr txBox="1"/>
          <p:nvPr userDrawn="1"/>
        </p:nvSpPr>
        <p:spPr>
          <a:xfrm>
            <a:off x="358776" y="244128"/>
            <a:ext cx="11290298" cy="65017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r>
              <a:rPr lang="en-GB" sz="3200" b="0" noProof="1">
                <a:solidFill>
                  <a:srgbClr val="333333"/>
                </a:solidFill>
                <a:latin typeface="+mj-lt"/>
                <a:cs typeface="Verdana" panose="020B0604030504040204" pitchFamily="34" charset="0"/>
              </a:rPr>
              <a:t>TIPS &amp; TRICKS - YOUR USER GUIDE</a:t>
            </a:r>
          </a:p>
        </p:txBody>
      </p:sp>
      <p:pic>
        <p:nvPicPr>
          <p:cNvPr id="19" name="Picture 12">
            <a:extLst>
              <a:ext uri="{FF2B5EF4-FFF2-40B4-BE49-F238E27FC236}">
                <a16:creationId xmlns:a16="http://schemas.microsoft.com/office/drawing/2014/main" id="{D59A1415-DF88-48C2-BFBD-2900D34A9A2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1175883" y="1493859"/>
            <a:ext cx="378293" cy="543366"/>
          </a:xfrm>
          <a:prstGeom prst="rect">
            <a:avLst/>
          </a:prstGeom>
        </p:spPr>
      </p:pic>
      <p:sp>
        <p:nvSpPr>
          <p:cNvPr id="20" name="Date Placeholder 6" hidden="1">
            <a:extLst>
              <a:ext uri="{FF2B5EF4-FFF2-40B4-BE49-F238E27FC236}">
                <a16:creationId xmlns:a16="http://schemas.microsoft.com/office/drawing/2014/main" id="{56AA1691-6753-45B8-AB77-1105989467F7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A5B220B3-5DAB-45AB-9B6A-9B7C36B5A57F}" type="datetime1">
              <a:rPr lang="en-GB" smtClean="0"/>
              <a:t>25/04/2023</a:t>
            </a:fld>
            <a:endParaRPr lang="en-GB"/>
          </a:p>
        </p:txBody>
      </p:sp>
      <p:sp>
        <p:nvSpPr>
          <p:cNvPr id="21" name="Footer Placeholder 8" hidden="1">
            <a:extLst>
              <a:ext uri="{FF2B5EF4-FFF2-40B4-BE49-F238E27FC236}">
                <a16:creationId xmlns:a16="http://schemas.microsoft.com/office/drawing/2014/main" id="{2F8C9320-E8BF-471F-8DD3-1BC479021917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22" name="Slide Number Placeholder 10" hidden="1">
            <a:extLst>
              <a:ext uri="{FF2B5EF4-FFF2-40B4-BE49-F238E27FC236}">
                <a16:creationId xmlns:a16="http://schemas.microsoft.com/office/drawing/2014/main" id="{B01A309B-80AB-481C-AE3F-3C56C2C92EE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9" name="Picture 33">
            <a:extLst>
              <a:ext uri="{FF2B5EF4-FFF2-40B4-BE49-F238E27FC236}">
                <a16:creationId xmlns:a16="http://schemas.microsoft.com/office/drawing/2014/main" id="{B03E872F-21DD-423D-B6DE-4945F155FB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901" t="45142" r="62601" b="9046"/>
          <a:stretch/>
        </p:blipFill>
        <p:spPr>
          <a:xfrm>
            <a:off x="7210077" y="2430166"/>
            <a:ext cx="341204" cy="321707"/>
          </a:xfrm>
          <a:prstGeom prst="rect">
            <a:avLst/>
          </a:prstGeom>
        </p:spPr>
      </p:pic>
      <p:pic>
        <p:nvPicPr>
          <p:cNvPr id="14" name="Picture 2" descr="C:\Users\MAV~1.SKA\AppData\Local\Temp\SNAGHTMLe48c1e.PNG">
            <a:extLst>
              <a:ext uri="{FF2B5EF4-FFF2-40B4-BE49-F238E27FC236}">
                <a16:creationId xmlns:a16="http://schemas.microsoft.com/office/drawing/2014/main" id="{F708B370-AE70-4A27-B119-8EF9D44A864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75883" y="4632457"/>
            <a:ext cx="650850" cy="973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Text Box 2">
            <a:extLst>
              <a:ext uri="{FF2B5EF4-FFF2-40B4-BE49-F238E27FC236}">
                <a16:creationId xmlns:a16="http://schemas.microsoft.com/office/drawing/2014/main" id="{8B1B4749-2B7E-4474-A2D3-2B2892ADCA26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5267" y="938540"/>
            <a:ext cx="2880000" cy="4555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144000" bIns="0" anchor="t" anchorCtr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Verdana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Verdana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Verdan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EXT STYLES</a:t>
            </a:r>
            <a:endParaRPr lang="en-GB" altLang="da-DK" sz="16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-key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jump through levels. Click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ENTER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, then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AB</a:t>
            </a: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o switch from one level to the next level</a:t>
            </a:r>
          </a:p>
          <a:p>
            <a:pPr eaLnBrk="1" hangingPunct="1">
              <a:spcAft>
                <a:spcPts val="600"/>
              </a:spcAft>
              <a:defRPr/>
            </a:pPr>
            <a:r>
              <a:rPr lang="en-GB" altLang="da-DK" sz="900" b="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go back in levels us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HIFT-TAB</a:t>
            </a:r>
            <a:endParaRPr lang="en-GB" sz="900" b="1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eaLnBrk="1" hangingPunct="1">
              <a:spcAft>
                <a:spcPts val="600"/>
              </a:spcAft>
              <a:defRPr/>
            </a:pPr>
            <a:r>
              <a:rPr lang="en-GB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Alternatively, </a:t>
            </a: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crease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</a:t>
            </a:r>
            <a:r>
              <a:rPr lang="en-GB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Decrease </a:t>
            </a:r>
            <a:r>
              <a:rPr lang="en-GB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list level can be used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slid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+mj-lt"/>
              <a:buNone/>
              <a:tabLst/>
              <a:defRPr/>
            </a:pP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the </a:t>
            </a:r>
            <a:r>
              <a:rPr lang="en-GB" altLang="da-DK" sz="900" b="1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Reset </a:t>
            </a:r>
            <a:r>
              <a:rPr lang="en-GB" altLang="da-DK" sz="90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menu to reset position, size</a:t>
            </a:r>
            <a:r>
              <a:rPr lang="en-GB" altLang="da-DK" sz="900" baseline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and formatting of the slide placeholders to their default setting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SLIDES &amp; LAYOU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lick on the menu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New Slide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in th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Home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 tab to insert a new slide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hange layout</a:t>
            </a:r>
            <a:endParaRPr lang="en-GB" altLang="da-DK" sz="900" b="0" noProof="1">
              <a:solidFill>
                <a:srgbClr val="333333"/>
              </a:solidFill>
              <a:latin typeface="+mn-lt"/>
              <a:cs typeface="Verdana" panose="020B0604030504040204" pitchFamily="34" charset="0"/>
            </a:endParaRPr>
          </a:p>
          <a:p>
            <a:pPr marL="0" indent="0">
              <a:spcAft>
                <a:spcPts val="600"/>
              </a:spcAft>
              <a:buFont typeface="+mj-lt"/>
              <a:buNone/>
            </a:pPr>
            <a:r>
              <a:rPr lang="en-GB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Click on the arrow next to </a:t>
            </a:r>
            <a:r>
              <a:rPr lang="en-GB" sz="900" b="1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Layout </a:t>
            </a:r>
            <a:r>
              <a:rPr lang="en-GB" sz="900">
                <a:solidFill>
                  <a:srgbClr val="333333"/>
                </a:solidFill>
                <a:latin typeface="+mn-lt"/>
                <a:ea typeface="Verdana" panose="020B0604030504040204" pitchFamily="34" charset="0"/>
              </a:rPr>
              <a:t>to view a dropdown menu of possible slide layouts</a:t>
            </a:r>
          </a:p>
          <a:p>
            <a:pPr marL="0" indent="0">
              <a:spcAft>
                <a:spcPts val="600"/>
              </a:spcAft>
              <a:buFont typeface="+mj-lt"/>
              <a:buNone/>
            </a:pPr>
            <a:endParaRPr lang="en-GB" sz="90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sz="1600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olo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Use </a:t>
            </a:r>
            <a:r>
              <a:rPr lang="en-GB" altLang="da-DK" sz="900" b="1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Custom Colors </a:t>
            </a:r>
            <a: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  <a:t>to change color.</a:t>
            </a:r>
            <a:br>
              <a:rPr lang="en-GB" altLang="da-DK" sz="900" b="0" noProof="1">
                <a:solidFill>
                  <a:srgbClr val="333333"/>
                </a:solidFill>
                <a:latin typeface="+mn-lt"/>
                <a:cs typeface="Verdana" panose="020B0604030504040204" pitchFamily="34" charset="0"/>
              </a:rPr>
            </a:br>
            <a:endParaRPr lang="en-GB" sz="900">
              <a:solidFill>
                <a:srgbClr val="333333"/>
              </a:solidFill>
              <a:latin typeface="+mn-lt"/>
              <a:ea typeface="Verdana" panose="020B0604030504040204" pitchFamily="34" charset="0"/>
            </a:endParaRP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12B8CEB7-8718-40FB-BCC9-2AC96094B83E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183906" y="4287980"/>
            <a:ext cx="475428" cy="176762"/>
          </a:xfrm>
          <a:prstGeom prst="rect">
            <a:avLst/>
          </a:prstGeom>
        </p:spPr>
      </p:pic>
      <p:pic>
        <p:nvPicPr>
          <p:cNvPr id="29" name="Picture 16">
            <a:extLst>
              <a:ext uri="{FF2B5EF4-FFF2-40B4-BE49-F238E27FC236}">
                <a16:creationId xmlns:a16="http://schemas.microsoft.com/office/drawing/2014/main" id="{1543AAD2-58D2-4DCE-A080-AFA6A459F60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83906" y="3470985"/>
            <a:ext cx="328881" cy="505501"/>
          </a:xfrm>
          <a:prstGeom prst="rect">
            <a:avLst/>
          </a:prstGeom>
        </p:spPr>
      </p:pic>
      <p:pic>
        <p:nvPicPr>
          <p:cNvPr id="30" name="Picture 20">
            <a:extLst>
              <a:ext uri="{FF2B5EF4-FFF2-40B4-BE49-F238E27FC236}">
                <a16:creationId xmlns:a16="http://schemas.microsoft.com/office/drawing/2014/main" id="{F410AF64-93DE-4C35-8AC4-D2AFA638F572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3186604" y="2737830"/>
            <a:ext cx="538465" cy="17284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5AAFDC93-9DCC-4CE4-B8D7-6137FEEF048E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83906" y="2026540"/>
            <a:ext cx="457143" cy="257143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02B52D7-9EB4-432D-A8C5-A0DAE58EF038}"/>
              </a:ext>
            </a:extLst>
          </p:cNvPr>
          <p:cNvCxnSpPr>
            <a:cxnSpLocks/>
          </p:cNvCxnSpPr>
          <p:nvPr userDrawn="1"/>
        </p:nvCxnSpPr>
        <p:spPr>
          <a:xfrm>
            <a:off x="2757565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25E9322B-F814-45C1-A30F-1BB8D0604356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4996939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239B075D-C775-447D-A3A2-2DDBE502A24E}"/>
              </a:ext>
            </a:extLst>
          </p:cNvPr>
          <p:cNvCxnSpPr>
            <a:cxnSpLocks/>
          </p:cNvCxnSpPr>
          <p:nvPr userDrawn="1"/>
        </p:nvCxnSpPr>
        <p:spPr>
          <a:xfrm>
            <a:off x="2757565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AF27D424-46E2-4CE8-9A03-0D53792EDAE5}"/>
              </a:ext>
            </a:extLst>
          </p:cNvPr>
          <p:cNvCxnSpPr>
            <a:cxnSpLocks/>
          </p:cNvCxnSpPr>
          <p:nvPr userDrawn="1"/>
        </p:nvCxnSpPr>
        <p:spPr>
          <a:xfrm rot="19200000">
            <a:off x="2751034" y="6075482"/>
            <a:ext cx="907781" cy="310084"/>
          </a:xfrm>
          <a:prstGeom prst="line">
            <a:avLst/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54368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&gt;Do not use layouts after this &gt;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F124504-36FD-4753-851D-5B7D02D4A2D1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prstGeom prst="rect">
            <a:avLst/>
          </a:prstGeom>
          <a:solidFill>
            <a:srgbClr val="000000"/>
          </a:solidFill>
          <a:ln w="6350" cap="rnd">
            <a:noFill/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3755"/>
              </a:buClr>
            </a:pPr>
            <a:endParaRPr lang="en-GB" sz="1400" err="1">
              <a:solidFill>
                <a:schemeClr val="tx1"/>
              </a:solidFill>
            </a:endParaRPr>
          </a:p>
        </p:txBody>
      </p:sp>
      <p:sp>
        <p:nvSpPr>
          <p:cNvPr id="5" name="Do not use"/>
          <p:cNvSpPr txBox="1"/>
          <p:nvPr userDrawn="1"/>
        </p:nvSpPr>
        <p:spPr>
          <a:xfrm>
            <a:off x="358775" y="656823"/>
            <a:ext cx="1147286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4000" b="0" noProof="0">
                <a:solidFill>
                  <a:schemeClr val="tx1"/>
                </a:solidFill>
              </a:rPr>
              <a:t>If you see any </a:t>
            </a:r>
            <a:r>
              <a:rPr lang="en-GB" sz="4000" b="1" i="1" noProof="0">
                <a:solidFill>
                  <a:schemeClr val="tx1"/>
                </a:solidFill>
              </a:rPr>
              <a:t>layouts after this </a:t>
            </a:r>
            <a:r>
              <a:rPr lang="en-GB" sz="4000" b="0" i="0" noProof="0">
                <a:solidFill>
                  <a:schemeClr val="tx1"/>
                </a:solidFill>
              </a:rPr>
              <a:t>one</a:t>
            </a:r>
            <a:r>
              <a:rPr lang="en-GB" sz="4000" b="1" i="1" noProof="0">
                <a:solidFill>
                  <a:schemeClr val="tx1"/>
                </a:solidFill>
              </a:rPr>
              <a:t>,</a:t>
            </a:r>
            <a:br>
              <a:rPr lang="en-GB" sz="4000" b="0" i="0" noProof="0">
                <a:solidFill>
                  <a:schemeClr val="tx1"/>
                </a:solidFill>
              </a:rPr>
            </a:br>
            <a:r>
              <a:rPr lang="en-GB" sz="4000" b="0" noProof="0">
                <a:solidFill>
                  <a:schemeClr val="tx1"/>
                </a:solidFill>
              </a:rPr>
              <a:t>do not use them. These layouts </a:t>
            </a:r>
            <a:r>
              <a:rPr lang="en-GB" sz="4000" b="1" i="1" u="none" noProof="0">
                <a:solidFill>
                  <a:schemeClr val="tx1"/>
                </a:solidFill>
              </a:rPr>
              <a:t>are not </a:t>
            </a:r>
            <a:r>
              <a:rPr lang="en-GB" sz="4000" b="0" noProof="0">
                <a:solidFill>
                  <a:schemeClr val="tx1"/>
                </a:solidFill>
              </a:rPr>
              <a:t>part of our corporate template.</a:t>
            </a:r>
            <a:endParaRPr lang="en-GB" sz="2400" b="0" noProof="0">
              <a:solidFill>
                <a:schemeClr val="tx1"/>
              </a:solidFill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EB5E5A-DA85-4D5B-80B9-F94482F55D76}"/>
              </a:ext>
            </a:extLst>
          </p:cNvPr>
          <p:cNvGrpSpPr/>
          <p:nvPr userDrawn="1"/>
        </p:nvGrpSpPr>
        <p:grpSpPr bwMode="black">
          <a:xfrm rot="8100000">
            <a:off x="10404874" y="3325226"/>
            <a:ext cx="1036788" cy="1036788"/>
            <a:chOff x="6096000" y="4963130"/>
            <a:chExt cx="1456719" cy="1456719"/>
          </a:xfrm>
          <a:solidFill>
            <a:schemeClr val="tx1"/>
          </a:solidFill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C823227E-A862-4A7F-BC20-0D107430AB2C}"/>
                </a:ext>
              </a:extLst>
            </p:cNvPr>
            <p:cNvSpPr/>
            <p:nvPr userDrawn="1"/>
          </p:nvSpPr>
          <p:spPr bwMode="black">
            <a:xfrm rot="5400000">
              <a:off x="5534135" y="5524995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08501AE6-6504-4184-9443-E89AFACF769D}"/>
                </a:ext>
              </a:extLst>
            </p:cNvPr>
            <p:cNvSpPr/>
            <p:nvPr userDrawn="1"/>
          </p:nvSpPr>
          <p:spPr bwMode="black">
            <a:xfrm rot="10800000">
              <a:off x="6096000" y="4963130"/>
              <a:ext cx="1456719" cy="332990"/>
            </a:xfrm>
            <a:prstGeom prst="rect">
              <a:avLst/>
            </a:prstGeom>
            <a:grpFill/>
            <a:ln w="6350" cap="rnd">
              <a:noFill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600"/>
                </a:spcBef>
                <a:buClr>
                  <a:srgbClr val="003755"/>
                </a:buClr>
              </a:pPr>
              <a:endParaRPr lang="en-GB" sz="140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Rectangle 11">
            <a:extLst>
              <a:ext uri="{FF2B5EF4-FFF2-40B4-BE49-F238E27FC236}">
                <a16:creationId xmlns:a16="http://schemas.microsoft.com/office/drawing/2014/main" id="{67CEE09B-6EE1-4BF2-85A3-DE69E91BC4C6}"/>
              </a:ext>
            </a:extLst>
          </p:cNvPr>
          <p:cNvSpPr/>
          <p:nvPr userDrawn="1"/>
        </p:nvSpPr>
        <p:spPr>
          <a:xfrm>
            <a:off x="430213" y="2745012"/>
            <a:ext cx="10152346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500" b="1" i="1" noProof="0">
                <a:solidFill>
                  <a:schemeClr val="tx1"/>
                </a:solidFill>
              </a:rPr>
              <a:t>Do not use </a:t>
            </a:r>
            <a:endParaRPr lang="en-GB" sz="2000" b="1" i="1">
              <a:solidFill>
                <a:schemeClr val="tx1"/>
              </a:solidFill>
            </a:endParaRPr>
          </a:p>
        </p:txBody>
      </p:sp>
      <p:sp>
        <p:nvSpPr>
          <p:cNvPr id="16" name="Do not use">
            <a:extLst>
              <a:ext uri="{FF2B5EF4-FFF2-40B4-BE49-F238E27FC236}">
                <a16:creationId xmlns:a16="http://schemas.microsoft.com/office/drawing/2014/main" id="{A8FA78FA-4D94-4717-B7C6-6F86378D6B01}"/>
              </a:ext>
            </a:extLst>
          </p:cNvPr>
          <p:cNvSpPr txBox="1"/>
          <p:nvPr userDrawn="1"/>
        </p:nvSpPr>
        <p:spPr>
          <a:xfrm>
            <a:off x="358775" y="5186455"/>
            <a:ext cx="11472863" cy="6309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>
                <a:solidFill>
                  <a:schemeClr val="tx1"/>
                </a:solidFill>
              </a:rPr>
              <a:t>Due to PowerPoint’s standard Copy/Paste functionality extra undesirable layouts can appear.</a:t>
            </a:r>
          </a:p>
          <a:p>
            <a:pPr marL="0" marR="0" indent="0" algn="ctr" fontAlgn="auto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755"/>
              </a:buClr>
              <a:buSzTx/>
              <a:buFontTx/>
              <a:buNone/>
              <a:tabLst/>
            </a:pPr>
            <a:r>
              <a:rPr lang="en-GB" sz="1800" b="0" noProof="0">
                <a:solidFill>
                  <a:schemeClr val="tx1"/>
                </a:solidFill>
              </a:rPr>
              <a:t>Also notice: Layouts after this might contain potential confidential information.</a:t>
            </a:r>
          </a:p>
        </p:txBody>
      </p:sp>
      <p:sp>
        <p:nvSpPr>
          <p:cNvPr id="13" name="Date Placeholder 6" hidden="1">
            <a:extLst>
              <a:ext uri="{FF2B5EF4-FFF2-40B4-BE49-F238E27FC236}">
                <a16:creationId xmlns:a16="http://schemas.microsoft.com/office/drawing/2014/main" id="{706505A8-87EA-4BA0-B698-35156BC765D0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06357EC7-0D53-4A60-9E41-D75A47B48389}" type="datetime1">
              <a:rPr lang="en-GB" smtClean="0"/>
              <a:t>25/04/2023</a:t>
            </a:fld>
            <a:endParaRPr lang="en-GB"/>
          </a:p>
        </p:txBody>
      </p:sp>
      <p:sp>
        <p:nvSpPr>
          <p:cNvPr id="14" name="Footer Placeholder 8" hidden="1">
            <a:extLst>
              <a:ext uri="{FF2B5EF4-FFF2-40B4-BE49-F238E27FC236}">
                <a16:creationId xmlns:a16="http://schemas.microsoft.com/office/drawing/2014/main" id="{AB150C2C-2030-498B-8262-6BD5BCCBB34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5" name="Slide Number Placeholder 10" hidden="1">
            <a:extLst>
              <a:ext uri="{FF2B5EF4-FFF2-40B4-BE49-F238E27FC236}">
                <a16:creationId xmlns:a16="http://schemas.microsoft.com/office/drawing/2014/main" id="{E81B246F-92C7-4EF8-ACD0-05F73C7095B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98348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dark imag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9BED15FA-6EE8-4B82-A537-F53ACAF84CA4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28407CFA-12E8-4EE0-A351-546A2BCBA92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-1"/>
            <a:ext cx="12193200" cy="6861600"/>
          </a:xfrm>
          <a:solidFill>
            <a:srgbClr val="F9F9F7"/>
          </a:solidFill>
        </p:spPr>
        <p:txBody>
          <a:bodyPr lIns="72000" tIns="72000"/>
          <a:lstStyle>
            <a:lvl1pPr marL="0" indent="0" algn="l">
              <a:spcAft>
                <a:spcPts val="0"/>
              </a:spcAft>
              <a:buNone/>
              <a:defRPr sz="1600"/>
            </a:lvl1pPr>
          </a:lstStyle>
          <a:p>
            <a:r>
              <a:rPr lang="en-GB" noProof="0"/>
              <a:t>Mark placeholder to insert image </a:t>
            </a:r>
            <a:r>
              <a:rPr lang="en-GB"/>
              <a:t>using the Insert tab – Pictures or from Templafy</a:t>
            </a:r>
          </a:p>
          <a:p>
            <a:endParaRPr lang="en-GB"/>
          </a:p>
        </p:txBody>
      </p:sp>
      <p:sp>
        <p:nvSpPr>
          <p:cNvPr id="14" name="Text Placeholder logo">
            <a:extLst>
              <a:ext uri="{FF2B5EF4-FFF2-40B4-BE49-F238E27FC236}">
                <a16:creationId xmlns:a16="http://schemas.microsoft.com/office/drawing/2014/main" id="{E32549A6-0448-4926-86D9-B6AD75A15EC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0000" y="5878658"/>
            <a:ext cx="2617200" cy="327600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n-GB"/>
              <a:t>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50"/>
            <a:ext cx="10485800" cy="802800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>
                <a:solidFill>
                  <a:schemeClr val="bg1"/>
                </a:solidFill>
              </a:defRPr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40235187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ate Placeholder 6" hidden="1">
            <a:extLst>
              <a:ext uri="{FF2B5EF4-FFF2-40B4-BE49-F238E27FC236}">
                <a16:creationId xmlns:a16="http://schemas.microsoft.com/office/drawing/2014/main" id="{19E8C21D-363E-4C29-BCB1-2C67A41A6B1A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4C6B010D-12BA-4529-B692-206652452F2C}" type="datetime1">
              <a:rPr lang="en-GB" smtClean="0"/>
              <a:t>25/04/2023</a:t>
            </a:fld>
            <a:endParaRPr lang="en-GB"/>
          </a:p>
        </p:txBody>
      </p:sp>
      <p:sp>
        <p:nvSpPr>
          <p:cNvPr id="11" name="Footer Placeholder 8" hidden="1">
            <a:extLst>
              <a:ext uri="{FF2B5EF4-FFF2-40B4-BE49-F238E27FC236}">
                <a16:creationId xmlns:a16="http://schemas.microsoft.com/office/drawing/2014/main" id="{6DB35B2F-204D-4092-A860-94E70637BD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GB"/>
          </a:p>
        </p:txBody>
      </p:sp>
      <p:sp>
        <p:nvSpPr>
          <p:cNvPr id="12" name="Slide Number Placeholder 10" hidden="1">
            <a:extLst>
              <a:ext uri="{FF2B5EF4-FFF2-40B4-BE49-F238E27FC236}">
                <a16:creationId xmlns:a16="http://schemas.microsoft.com/office/drawing/2014/main" id="{1BEB41F5-194C-405C-8EDC-8C5E550FE04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0" y="6858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Background">
            <a:extLst>
              <a:ext uri="{FF2B5EF4-FFF2-40B4-BE49-F238E27FC236}">
                <a16:creationId xmlns:a16="http://schemas.microsoft.com/office/drawing/2014/main" id="{22F6F34B-A8D0-4DB2-A40E-DF14A9DD8EC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60000" y="654049"/>
            <a:ext cx="10485800" cy="804214"/>
          </a:xfrm>
        </p:spPr>
        <p:txBody>
          <a:bodyPr anchor="b" anchorCtr="0"/>
          <a:lstStyle>
            <a:lvl1pPr algn="l">
              <a:defRPr sz="6000"/>
            </a:lvl1pPr>
          </a:lstStyle>
          <a:p>
            <a:r>
              <a:rPr lang="en-GB"/>
              <a:t>Headlin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60000" y="4687200"/>
            <a:ext cx="10485800" cy="828000"/>
          </a:xfrm>
        </p:spPr>
        <p:txBody>
          <a:bodyPr/>
          <a:lstStyle>
            <a:lvl1pPr marL="0" indent="0" algn="l">
              <a:spcBef>
                <a:spcPts val="0"/>
              </a:spcBef>
              <a:buFont typeface="Verdana" panose="020B0604030504040204" pitchFamily="34" charset="0"/>
              <a:buChar char="​"/>
              <a:defRPr sz="1200"/>
            </a:lvl1pPr>
            <a:lvl2pPr marL="0" indent="0" algn="l">
              <a:buFont typeface="Verdana" panose="020B0604030504040204" pitchFamily="34" charset="0"/>
              <a:buNone/>
              <a:defRPr sz="1200">
                <a:solidFill>
                  <a:srgbClr val="333333"/>
                </a:solidFill>
              </a:defRPr>
            </a:lvl2pPr>
            <a:lvl3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3pPr>
            <a:lvl4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4pPr>
            <a:lvl5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5pPr>
            <a:lvl6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6pPr>
            <a:lvl7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7pPr>
            <a:lvl8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8pPr>
            <a:lvl9pPr marL="0" indent="0" algn="l">
              <a:buFont typeface="Verdana" panose="020B0604030504040204" pitchFamily="34" charset="0"/>
              <a:buChar char="​"/>
              <a:defRPr sz="1200">
                <a:solidFill>
                  <a:srgbClr val="333333"/>
                </a:solidFill>
              </a:defRPr>
            </a:lvl9pPr>
          </a:lstStyle>
          <a:p>
            <a:r>
              <a:rPr lang="en-GB"/>
              <a:t>Subtit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1D5CAD49-96B5-43EE-877D-1641596EA58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0000" y="1555531"/>
            <a:ext cx="10485800" cy="1476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rgbClr val="333333"/>
                </a:solidFill>
                <a:latin typeface="+mj-lt"/>
                <a:ea typeface="+mj-ea"/>
                <a:cs typeface="+mj-cs"/>
              </a:defRPr>
            </a:lvl1pPr>
            <a:lvl2pPr marL="144000" indent="0" algn="l" defTabSz="914400" rtl="0" eaLnBrk="1" latinLnBrk="0" hangingPunct="1">
              <a:lnSpc>
                <a:spcPct val="83000"/>
              </a:lnSpc>
              <a:spcBef>
                <a:spcPct val="0"/>
              </a:spcBef>
              <a:buNone/>
              <a:defRPr lang="en-US" sz="6000" kern="1200" spc="-2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Headline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9BE5E2E4-C4EA-470A-9EED-5F0C8AEF39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5878800"/>
            <a:ext cx="2617200" cy="3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817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/>
            </a:lvl1pPr>
          </a:lstStyle>
          <a:p>
            <a:r>
              <a:rPr lang="en-GB" noProof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>
                <a:schemeClr val="tx2"/>
              </a:buClr>
              <a:buSzPct val="100000"/>
              <a:buFont typeface="+mj-lt"/>
              <a:buAutoNum type="arabicPeriod"/>
              <a:defRPr sz="1600" b="0">
                <a:solidFill>
                  <a:srgbClr val="333333"/>
                </a:solidFill>
              </a:defRPr>
            </a:lvl9pPr>
          </a:lstStyle>
          <a:p>
            <a:pPr lvl="0"/>
            <a:r>
              <a:rPr lang="en-GB" noProof="0"/>
              <a:t>Click to add 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27E5059-8FC8-469D-AF5C-AED221334502}" type="datetime1">
              <a:rPr lang="en-GB" smtClean="0"/>
              <a:t>25/04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70254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(B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ackground">
            <a:extLst>
              <a:ext uri="{FF2B5EF4-FFF2-40B4-BE49-F238E27FC236}">
                <a16:creationId xmlns:a16="http://schemas.microsoft.com/office/drawing/2014/main" id="{78ACD53B-260B-4FF0-BE81-47ED68F9F47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GB" sz="2000" noProof="0" err="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9998" y="654050"/>
            <a:ext cx="3583351" cy="1175446"/>
          </a:xfrm>
        </p:spPr>
        <p:txBody>
          <a:bodyPr/>
          <a:lstStyle>
            <a:lvl1pPr>
              <a:defRPr sz="4100">
                <a:solidFill>
                  <a:schemeClr val="tx1"/>
                </a:solidFill>
              </a:defRPr>
            </a:lvl1pPr>
          </a:lstStyle>
          <a:p>
            <a:r>
              <a:rPr lang="en-GB" noProof="0"/>
              <a:t>Click to add Agenda title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303712" y="654050"/>
            <a:ext cx="5915025" cy="5483951"/>
          </a:xfrm>
        </p:spPr>
        <p:txBody>
          <a:bodyPr tIns="54000"/>
          <a:lstStyle>
            <a:lvl1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1pPr>
            <a:lvl2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2pPr>
            <a:lvl3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3pPr>
            <a:lvl4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4pPr>
            <a:lvl5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5pPr>
            <a:lvl6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6pPr>
            <a:lvl7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7pPr>
            <a:lvl8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8pPr>
            <a:lvl9pPr marL="342900" indent="-342900">
              <a:lnSpc>
                <a:spcPct val="100000"/>
              </a:lnSpc>
              <a:spcBef>
                <a:spcPts val="0"/>
              </a:spcBef>
              <a:spcAft>
                <a:spcPts val="3000"/>
              </a:spcAft>
              <a:buClrTx/>
              <a:buSzPct val="100000"/>
              <a:buFont typeface="+mj-lt"/>
              <a:buAutoNum type="arabicPeriod"/>
              <a:defRPr sz="16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noProof="0"/>
              <a:t>Click to add agenda point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6</a:t>
            </a:r>
          </a:p>
          <a:p>
            <a:pPr lvl="6"/>
            <a:r>
              <a:rPr lang="en-GB" noProof="0"/>
              <a:t>7</a:t>
            </a:r>
          </a:p>
          <a:p>
            <a:pPr lvl="7"/>
            <a:r>
              <a:rPr lang="en-GB" noProof="0"/>
              <a:t>8</a:t>
            </a:r>
          </a:p>
          <a:p>
            <a:pPr lvl="8"/>
            <a:r>
              <a:rPr lang="en-GB" noProof="0"/>
              <a:t>9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7006308-6883-44E5-8AC1-4EFA41DAE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0A79E5A-EC3D-4F9C-8449-9968B8A873CD}" type="datetime1">
              <a:rPr lang="en-GB" smtClean="0"/>
              <a:t>25/04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78EA59-B5DA-44FE-A987-F0BBFEED3A5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C410AEC-4403-4C48-A85B-AE4CFE4111A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Lav dynamik">
            <a:extLst>
              <a:ext uri="{FF2B5EF4-FFF2-40B4-BE49-F238E27FC236}">
                <a16:creationId xmlns:a16="http://schemas.microsoft.com/office/drawing/2014/main" id="{BCDDD54F-FD08-428B-BC60-617D3FA993D5}"/>
              </a:ext>
            </a:extLst>
          </p:cNvPr>
          <p:cNvSpPr txBox="1"/>
          <p:nvPr userDrawn="1"/>
        </p:nvSpPr>
        <p:spPr>
          <a:xfrm>
            <a:off x="360000" y="6367354"/>
            <a:ext cx="775703" cy="21544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1"/>
                </a:solidFill>
              </a:rPr>
              <a:t>Ramboll</a:t>
            </a:r>
          </a:p>
        </p:txBody>
      </p:sp>
    </p:spTree>
    <p:extLst>
      <p:ext uri="{BB962C8B-B14F-4D97-AF65-F5344CB8AC3E}">
        <p14:creationId xmlns:p14="http://schemas.microsoft.com/office/powerpoint/2010/main" val="18112712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1E7A9DD-5E41-495E-AB69-1B5A6A077C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8"/>
            </p:custDataLst>
            <p:extLst>
              <p:ext uri="{D42A27DB-BD31-4B8C-83A1-F6EECF244321}">
                <p14:modId xmlns:p14="http://schemas.microsoft.com/office/powerpoint/2010/main" val="27693248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9" imgW="408" imgH="408" progId="TCLayout.ActiveDocument.1">
                  <p:embed/>
                </p:oleObj>
              </mc:Choice>
              <mc:Fallback>
                <p:oleObj name="think-cell Slide" r:id="rId59" imgW="408" imgH="40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1E7A9DD-5E41-495E-AB69-1B5A6A077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guide" hidden="1">
            <a:extLst>
              <a:ext uri="{FF2B5EF4-FFF2-40B4-BE49-F238E27FC236}">
                <a16:creationId xmlns:a16="http://schemas.microsoft.com/office/drawing/2014/main" id="{15561ECF-7D46-418C-8729-C8ECF83A13E2}"/>
              </a:ext>
            </a:extLst>
          </p:cNvPr>
          <p:cNvGrpSpPr/>
          <p:nvPr userDrawn="1"/>
        </p:nvGrpSpPr>
        <p:grpSpPr>
          <a:xfrm>
            <a:off x="358775" y="652461"/>
            <a:ext cx="11473225" cy="5911853"/>
            <a:chOff x="358775" y="652461"/>
            <a:chExt cx="11473225" cy="591185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79F99D4-F67E-4434-8A77-73CFD8194BE7}"/>
                </a:ext>
              </a:extLst>
            </p:cNvPr>
            <p:cNvSpPr/>
            <p:nvPr userDrawn="1"/>
          </p:nvSpPr>
          <p:spPr>
            <a:xfrm>
              <a:off x="98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B2247C1-8999-4428-B39C-99101426123D}"/>
                </a:ext>
              </a:extLst>
            </p:cNvPr>
            <p:cNvSpPr/>
            <p:nvPr userDrawn="1"/>
          </p:nvSpPr>
          <p:spPr>
            <a:xfrm>
              <a:off x="360000" y="652462"/>
              <a:ext cx="11472000" cy="5911851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1125219-FD9A-41B2-B1E3-EAB13584C8B0}"/>
                </a:ext>
              </a:extLst>
            </p:cNvPr>
            <p:cNvSpPr/>
            <p:nvPr userDrawn="1"/>
          </p:nvSpPr>
          <p:spPr>
            <a:xfrm>
              <a:off x="358775" y="1828800"/>
              <a:ext cx="11472863" cy="4735514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err="1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916D790-5B35-4F06-B6DB-EC1E2EB169A5}"/>
                </a:ext>
              </a:extLst>
            </p:cNvPr>
            <p:cNvSpPr/>
            <p:nvPr userDrawn="1"/>
          </p:nvSpPr>
          <p:spPr>
            <a:xfrm>
              <a:off x="197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DCB2FC5-A2F6-4A4F-84AA-43534FE975BF}"/>
                </a:ext>
              </a:extLst>
            </p:cNvPr>
            <p:cNvSpPr/>
            <p:nvPr userDrawn="1"/>
          </p:nvSpPr>
          <p:spPr>
            <a:xfrm>
              <a:off x="295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65EB2D0-7A80-405D-B665-12F8D4CC5F63}"/>
                </a:ext>
              </a:extLst>
            </p:cNvPr>
            <p:cNvSpPr/>
            <p:nvPr userDrawn="1"/>
          </p:nvSpPr>
          <p:spPr>
            <a:xfrm>
              <a:off x="394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E2768B5-D959-48CB-BDED-4EAD8F5FF0AD}"/>
                </a:ext>
              </a:extLst>
            </p:cNvPr>
            <p:cNvSpPr/>
            <p:nvPr userDrawn="1"/>
          </p:nvSpPr>
          <p:spPr>
            <a:xfrm>
              <a:off x="493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EE85FF8-3F3E-4005-8518-F5A205F1651A}"/>
                </a:ext>
              </a:extLst>
            </p:cNvPr>
            <p:cNvSpPr/>
            <p:nvPr userDrawn="1"/>
          </p:nvSpPr>
          <p:spPr>
            <a:xfrm>
              <a:off x="591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339F7EBC-85F9-49AF-A359-590F00976AFB}"/>
                </a:ext>
              </a:extLst>
            </p:cNvPr>
            <p:cNvSpPr/>
            <p:nvPr userDrawn="1"/>
          </p:nvSpPr>
          <p:spPr>
            <a:xfrm>
              <a:off x="6902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17F1FA3E-E852-433E-9D2C-2852FFC2D8B6}"/>
                </a:ext>
              </a:extLst>
            </p:cNvPr>
            <p:cNvSpPr/>
            <p:nvPr userDrawn="1"/>
          </p:nvSpPr>
          <p:spPr>
            <a:xfrm>
              <a:off x="7888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2443D88-E494-49A4-9054-8E60E8F2A85E}"/>
                </a:ext>
              </a:extLst>
            </p:cNvPr>
            <p:cNvSpPr/>
            <p:nvPr userDrawn="1"/>
          </p:nvSpPr>
          <p:spPr>
            <a:xfrm>
              <a:off x="8874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A83D840B-83FD-46BD-BEA5-2505FBE2EFF8}"/>
                </a:ext>
              </a:extLst>
            </p:cNvPr>
            <p:cNvSpPr/>
            <p:nvPr userDrawn="1"/>
          </p:nvSpPr>
          <p:spPr>
            <a:xfrm>
              <a:off x="9860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3ABC8FB8-5C7D-4EA0-B3F8-180CCCB2B78F}"/>
                </a:ext>
              </a:extLst>
            </p:cNvPr>
            <p:cNvSpPr/>
            <p:nvPr userDrawn="1"/>
          </p:nvSpPr>
          <p:spPr>
            <a:xfrm>
              <a:off x="10846000" y="652461"/>
              <a:ext cx="360000" cy="5911852"/>
            </a:xfrm>
            <a:prstGeom prst="rect">
              <a:avLst/>
            </a:prstGeom>
            <a:noFill/>
            <a:ln>
              <a:solidFill>
                <a:srgbClr val="FF0066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2A6E85EE-3577-48A9-A89C-EA48B414776F}"/>
                </a:ext>
              </a:extLst>
            </p:cNvPr>
            <p:cNvSpPr/>
            <p:nvPr userDrawn="1"/>
          </p:nvSpPr>
          <p:spPr>
            <a:xfrm>
              <a:off x="358775" y="6124575"/>
              <a:ext cx="11473200" cy="439739"/>
            </a:xfrm>
            <a:prstGeom prst="rect">
              <a:avLst/>
            </a:prstGeom>
            <a:noFill/>
            <a:ln w="635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tIns="36000" rIns="72000" bIns="36000" rtlCol="0" anchor="ctr"/>
            <a:lstStyle/>
            <a:p>
              <a:pPr algn="ctr"/>
              <a:endParaRPr lang="en-GB" sz="2000" noProof="0" err="1"/>
            </a:p>
          </p:txBody>
        </p:sp>
      </p:grpSp>
      <p:sp>
        <p:nvSpPr>
          <p:cNvPr id="4" name="Logo name">
            <a:extLst>
              <a:ext uri="{FF2B5EF4-FFF2-40B4-BE49-F238E27FC236}">
                <a16:creationId xmlns:a16="http://schemas.microsoft.com/office/drawing/2014/main" id="{01B9A0B6-FAB9-47A4-9AD8-E4A32831A03D}"/>
              </a:ext>
            </a:extLst>
          </p:cNvPr>
          <p:cNvSpPr txBox="1"/>
          <p:nvPr userDrawn="1"/>
        </p:nvSpPr>
        <p:spPr>
          <a:xfrm>
            <a:off x="360000" y="6368400"/>
            <a:ext cx="777600" cy="21600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r>
              <a:rPr lang="en-GB" sz="700">
                <a:solidFill>
                  <a:schemeClr val="tx2"/>
                </a:solidFill>
              </a:rPr>
              <a:t>Ramboll</a:t>
            </a:r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C9392247-CE23-49BB-A39E-64C7575BE4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00" y="655200"/>
            <a:ext cx="104832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Click to add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0000" y="1828800"/>
            <a:ext cx="11473200" cy="4294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Level 1 (Enter+TAB for next text level, SHIFT+TAB to go back in levels)</a:t>
            </a:r>
          </a:p>
          <a:p>
            <a:pPr lvl="1"/>
            <a:r>
              <a:rPr lang="en-GB" noProof="0"/>
              <a:t>Level 2</a:t>
            </a:r>
          </a:p>
          <a:p>
            <a:pPr lvl="2"/>
            <a:r>
              <a:rPr lang="en-GB" noProof="0"/>
              <a:t>Level 3</a:t>
            </a:r>
          </a:p>
          <a:p>
            <a:pPr lvl="3"/>
            <a:r>
              <a:rPr lang="en-GB" noProof="0"/>
              <a:t>Level 4</a:t>
            </a:r>
          </a:p>
          <a:p>
            <a:pPr lvl="4"/>
            <a:r>
              <a:rPr lang="en-GB" noProof="0"/>
              <a:t>Level 5</a:t>
            </a:r>
          </a:p>
          <a:p>
            <a:pPr lvl="5"/>
            <a:r>
              <a:rPr lang="en-GB" noProof="0"/>
              <a:t>Level 6</a:t>
            </a:r>
          </a:p>
          <a:p>
            <a:pPr lvl="6"/>
            <a:r>
              <a:rPr lang="en-GB" noProof="0"/>
              <a:t>Level 7</a:t>
            </a:r>
          </a:p>
          <a:p>
            <a:pPr lvl="7"/>
            <a:r>
              <a:rPr lang="en-GB" noProof="0"/>
              <a:t>Level 8</a:t>
            </a:r>
          </a:p>
          <a:p>
            <a:pPr lvl="8"/>
            <a:r>
              <a:rPr lang="en-GB" noProof="0"/>
              <a:t>Level 9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643F1B6-0743-4D14-8B95-B030120DE5D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206800" y="6310800"/>
            <a:ext cx="6264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D7C7A626-396F-47CE-9599-33B16A849820}" type="datetime1">
              <a:rPr lang="en-GB" smtClean="0"/>
              <a:t>25/04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460BDC-2796-43E8-A075-B3BFBC3B28E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342800" y="6440400"/>
            <a:ext cx="8877600" cy="144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942516E-ED5A-4F68-B285-E8D0CC42F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6800" y="6476400"/>
            <a:ext cx="6264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fld id="{23AA811B-2EBD-4900-905E-5BE206449611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099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  <p:sldLayoutId id="2147483702" r:id="rId54"/>
    <p:sldLayoutId id="2147483703" r:id="rId5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44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88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tabLst/>
        <a:defRPr sz="4100" kern="1200">
          <a:solidFill>
            <a:schemeClr val="tx2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6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​"/>
        <a:defRPr sz="1000" b="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8pPr>
      <a:lvl9pPr marL="108000" indent="-108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1" userDrawn="1">
          <p15:clr>
            <a:srgbClr val="A4A3A4"/>
          </p15:clr>
        </p15:guide>
        <p15:guide id="2" pos="847" userDrawn="1">
          <p15:clr>
            <a:srgbClr val="A4A3A4"/>
          </p15:clr>
        </p15:guide>
        <p15:guide id="3" orient="horz" pos="410" userDrawn="1">
          <p15:clr>
            <a:srgbClr val="F26B43"/>
          </p15:clr>
        </p15:guide>
        <p15:guide id="4" orient="horz" pos="4135" userDrawn="1">
          <p15:clr>
            <a:srgbClr val="A4A3A4"/>
          </p15:clr>
        </p15:guide>
        <p15:guide id="5" pos="226" userDrawn="1">
          <p15:clr>
            <a:srgbClr val="F26B43"/>
          </p15:clr>
        </p15:guide>
        <p15:guide id="6" pos="7453" userDrawn="1">
          <p15:clr>
            <a:srgbClr val="F26B43"/>
          </p15:clr>
        </p15:guide>
        <p15:guide id="7" orient="horz" pos="1152" userDrawn="1">
          <p15:clr>
            <a:srgbClr val="F26B43"/>
          </p15:clr>
        </p15:guide>
        <p15:guide id="8" pos="1242" userDrawn="1">
          <p15:clr>
            <a:srgbClr val="A4A3A4"/>
          </p15:clr>
        </p15:guide>
        <p15:guide id="9" pos="1468" userDrawn="1">
          <p15:clr>
            <a:srgbClr val="A4A3A4"/>
          </p15:clr>
        </p15:guide>
        <p15:guide id="10" pos="1863" userDrawn="1">
          <p15:clr>
            <a:srgbClr val="A4A3A4"/>
          </p15:clr>
        </p15:guide>
        <p15:guide id="11" pos="2090" userDrawn="1">
          <p15:clr>
            <a:srgbClr val="A4A3A4"/>
          </p15:clr>
        </p15:guide>
        <p15:guide id="12" pos="2484" userDrawn="1">
          <p15:clr>
            <a:srgbClr val="A4A3A4"/>
          </p15:clr>
        </p15:guide>
        <p15:guide id="13" pos="2711" userDrawn="1">
          <p15:clr>
            <a:srgbClr val="A4A3A4"/>
          </p15:clr>
        </p15:guide>
        <p15:guide id="14" pos="3105" userDrawn="1">
          <p15:clr>
            <a:srgbClr val="A4A3A4"/>
          </p15:clr>
        </p15:guide>
        <p15:guide id="15" pos="3332" userDrawn="1">
          <p15:clr>
            <a:srgbClr val="A4A3A4"/>
          </p15:clr>
        </p15:guide>
        <p15:guide id="16" pos="3726" userDrawn="1">
          <p15:clr>
            <a:srgbClr val="A4A3A4"/>
          </p15:clr>
        </p15:guide>
        <p15:guide id="17" pos="3953" userDrawn="1">
          <p15:clr>
            <a:srgbClr val="A4A3A4"/>
          </p15:clr>
        </p15:guide>
        <p15:guide id="18" pos="4347" userDrawn="1">
          <p15:clr>
            <a:srgbClr val="A4A3A4"/>
          </p15:clr>
        </p15:guide>
        <p15:guide id="19" pos="4574" userDrawn="1">
          <p15:clr>
            <a:srgbClr val="A4A3A4"/>
          </p15:clr>
        </p15:guide>
        <p15:guide id="20" pos="4968" userDrawn="1">
          <p15:clr>
            <a:srgbClr val="A4A3A4"/>
          </p15:clr>
        </p15:guide>
        <p15:guide id="21" pos="5195" userDrawn="1">
          <p15:clr>
            <a:srgbClr val="A4A3A4"/>
          </p15:clr>
        </p15:guide>
        <p15:guide id="22" pos="5589" userDrawn="1">
          <p15:clr>
            <a:srgbClr val="A4A3A4"/>
          </p15:clr>
        </p15:guide>
        <p15:guide id="23" pos="5816" userDrawn="1">
          <p15:clr>
            <a:srgbClr val="A4A3A4"/>
          </p15:clr>
        </p15:guide>
        <p15:guide id="24" pos="6211" userDrawn="1">
          <p15:clr>
            <a:srgbClr val="A4A3A4"/>
          </p15:clr>
        </p15:guide>
        <p15:guide id="25" pos="6437" userDrawn="1">
          <p15:clr>
            <a:srgbClr val="A4A3A4"/>
          </p15:clr>
        </p15:guide>
        <p15:guide id="26" pos="6832" userDrawn="1">
          <p15:clr>
            <a:srgbClr val="A4A3A4"/>
          </p15:clr>
        </p15:guide>
        <p15:guide id="27" pos="7058" userDrawn="1">
          <p15:clr>
            <a:srgbClr val="A4A3A4"/>
          </p15:clr>
        </p15:guide>
        <p15:guide id="28" orient="horz" pos="385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8.sv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DCA96AF-6F30-4CA1-B1EF-7B934F0DD1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9935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DCA96AF-6F30-4CA1-B1EF-7B934F0DD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82F4AAD2-4882-4C0B-B804-5CD6127A210C}"/>
              </a:ext>
            </a:extLst>
          </p:cNvPr>
          <p:cNvSpPr/>
          <p:nvPr/>
        </p:nvSpPr>
        <p:spPr>
          <a:xfrm>
            <a:off x="7346302" y="2948473"/>
            <a:ext cx="1206759" cy="2461727"/>
          </a:xfrm>
          <a:prstGeom prst="rect">
            <a:avLst/>
          </a:prstGeom>
          <a:solidFill>
            <a:srgbClr val="FFF0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ctr"/>
            <a:endParaRPr lang="en-US" sz="2000" noProof="0" err="1"/>
          </a:p>
        </p:txBody>
      </p:sp>
      <p:sp>
        <p:nvSpPr>
          <p:cNvPr id="91" name="TextBox 90">
            <a:extLst>
              <a:ext uri="{FF2B5EF4-FFF2-40B4-BE49-F238E27FC236}">
                <a16:creationId xmlns:a16="http://schemas.microsoft.com/office/drawing/2014/main" id="{B7E0264A-C9B9-4D39-BE25-EF25EA57F56E}"/>
              </a:ext>
            </a:extLst>
          </p:cNvPr>
          <p:cNvSpPr txBox="1"/>
          <p:nvPr/>
        </p:nvSpPr>
        <p:spPr>
          <a:xfrm>
            <a:off x="1046163" y="450463"/>
            <a:ext cx="8426835" cy="571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15000"/>
              </a:lnSpc>
              <a:spcBef>
                <a:spcPts val="1200"/>
              </a:spcBef>
            </a:pPr>
            <a:r>
              <a:rPr lang="da-DK" sz="1400">
                <a:solidFill>
                  <a:srgbClr val="000000"/>
                </a:solidFill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tte dokument rummer en skabelon til en tidsplan. Dokumentet er en del af </a:t>
            </a:r>
            <a:r>
              <a:rPr lang="da-DK" sz="1400" i="1">
                <a:solidFill>
                  <a:srgbClr val="000000"/>
                </a:solidFill>
                <a:effectLst/>
                <a:latin typeface="Corbel" panose="020B0503020204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uide til kommunikation i kriser til etniske minoriteter.</a:t>
            </a:r>
            <a:endParaRPr lang="da-DK" sz="1400" b="1" kern="0">
              <a:solidFill>
                <a:srgbClr val="365F91"/>
              </a:solidFill>
              <a:effectLst/>
              <a:latin typeface="Cambria" panose="020405030504060302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75" name="Table 5">
            <a:extLst>
              <a:ext uri="{FF2B5EF4-FFF2-40B4-BE49-F238E27FC236}">
                <a16:creationId xmlns:a16="http://schemas.microsoft.com/office/drawing/2014/main" id="{169443BC-BA51-4601-BBC8-5962198FFBD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51078967"/>
              </p:ext>
            </p:extLst>
          </p:nvPr>
        </p:nvGraphicFramePr>
        <p:xfrm>
          <a:off x="359577" y="1828800"/>
          <a:ext cx="11472846" cy="3581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19489">
                  <a:extLst>
                    <a:ext uri="{9D8B030D-6E8A-4147-A177-3AD203B41FA5}">
                      <a16:colId xmlns:a16="http://schemas.microsoft.com/office/drawing/2014/main" val="1238345316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3247997727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624843123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1015394959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1206145498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3566970233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3465160263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3656868311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2315411198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1058482497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4089098429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4075626965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2464981252"/>
                    </a:ext>
                  </a:extLst>
                </a:gridCol>
                <a:gridCol w="819489">
                  <a:extLst>
                    <a:ext uri="{9D8B030D-6E8A-4147-A177-3AD203B41FA5}">
                      <a16:colId xmlns:a16="http://schemas.microsoft.com/office/drawing/2014/main" val="318814046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US" sz="1200" dirty="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9"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20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600">
                          <a:solidFill>
                            <a:schemeClr val="tx1"/>
                          </a:solidFill>
                          <a:latin typeface="Corbel" panose="020B0503020204020204" pitchFamily="34" charset="0"/>
                        </a:rPr>
                        <a:t>20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32660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Novemb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Decembe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en-US" sz="1200" err="1">
                          <a:latin typeface="Corbel" panose="020B0503020204020204" pitchFamily="34" charset="0"/>
                        </a:rPr>
                        <a:t>Januar</a:t>
                      </a:r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0909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err="1">
                          <a:latin typeface="Corbel" panose="020B0503020204020204" pitchFamily="34" charset="0"/>
                        </a:rPr>
                        <a:t>Aktivitet</a:t>
                      </a:r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4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45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46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47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48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49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5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5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5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latin typeface="Corbel" panose="020B0503020204020204" pitchFamily="34" charset="0"/>
                        </a:rPr>
                        <a:t>4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6801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err="1">
                          <a:latin typeface="Corbel" panose="020B0503020204020204" pitchFamily="34" charset="0"/>
                        </a:rPr>
                        <a:t>Tekst</a:t>
                      </a:r>
                      <a:endParaRPr lang="en-US" sz="1200">
                        <a:latin typeface="Corbel" panose="020B0503020204020204" pitchFamily="34" charset="0"/>
                      </a:endParaRPr>
                    </a:p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  <a:p>
                      <a:r>
                        <a:rPr lang="en-US" sz="1200" err="1">
                          <a:latin typeface="Corbel" panose="020B0503020204020204" pitchFamily="34" charset="0"/>
                        </a:rPr>
                        <a:t>Tekst</a:t>
                      </a:r>
                      <a:endParaRPr lang="en-US" sz="1200">
                        <a:latin typeface="Corbel" panose="020B0503020204020204" pitchFamily="34" charset="0"/>
                      </a:endParaRPr>
                    </a:p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0B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25942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200" err="1">
                          <a:latin typeface="Corbel" panose="020B0503020204020204" pitchFamily="34" charset="0"/>
                        </a:rPr>
                        <a:t>Tekst</a:t>
                      </a:r>
                      <a:endParaRPr lang="en-US" sz="1200">
                        <a:latin typeface="Corbel" panose="020B0503020204020204" pitchFamily="34" charset="0"/>
                      </a:endParaRPr>
                    </a:p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  <a:p>
                      <a:r>
                        <a:rPr lang="en-US" sz="1200" err="1">
                          <a:latin typeface="Corbel" panose="020B0503020204020204" pitchFamily="34" charset="0"/>
                        </a:rPr>
                        <a:t>Tekst</a:t>
                      </a:r>
                      <a:endParaRPr lang="en-US" sz="1200">
                        <a:latin typeface="Corbel" panose="020B0503020204020204" pitchFamily="34" charset="0"/>
                      </a:endParaRPr>
                    </a:p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0B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1722655"/>
                  </a:ext>
                </a:extLst>
              </a:tr>
              <a:tr h="303971">
                <a:tc>
                  <a:txBody>
                    <a:bodyPr/>
                    <a:lstStyle/>
                    <a:p>
                      <a:r>
                        <a:rPr lang="en-US" sz="1200" err="1">
                          <a:latin typeface="Corbel" panose="020B0503020204020204" pitchFamily="34" charset="0"/>
                        </a:rPr>
                        <a:t>Tekst</a:t>
                      </a:r>
                      <a:endParaRPr lang="en-US" sz="1200">
                        <a:latin typeface="Corbel" panose="020B0503020204020204" pitchFamily="34" charset="0"/>
                      </a:endParaRPr>
                    </a:p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  <a:p>
                      <a:r>
                        <a:rPr lang="en-US" sz="1200" err="1">
                          <a:latin typeface="Corbel" panose="020B0503020204020204" pitchFamily="34" charset="0"/>
                        </a:rPr>
                        <a:t>Tekst</a:t>
                      </a:r>
                      <a:endParaRPr lang="en-US" sz="1200">
                        <a:latin typeface="Corbel" panose="020B0503020204020204" pitchFamily="34" charset="0"/>
                      </a:endParaRPr>
                    </a:p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0BE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200" dirty="0">
                        <a:latin typeface="Corbel" panose="020B0503020204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210369"/>
                  </a:ext>
                </a:extLst>
              </a:tr>
            </a:tbl>
          </a:graphicData>
        </a:graphic>
      </p:graphicFrame>
      <p:pic>
        <p:nvPicPr>
          <p:cNvPr id="3" name="Grafik 2">
            <a:extLst>
              <a:ext uri="{FF2B5EF4-FFF2-40B4-BE49-F238E27FC236}">
                <a16:creationId xmlns:a16="http://schemas.microsoft.com/office/drawing/2014/main" id="{3128E7CB-1C37-4949-A8E6-240E856F48A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71084" y="6063648"/>
            <a:ext cx="1762125" cy="49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582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7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Ramboll 2021">
      <a:dk1>
        <a:srgbClr val="000000"/>
      </a:dk1>
      <a:lt1>
        <a:srgbClr val="FFFFFF"/>
      </a:lt1>
      <a:dk2>
        <a:srgbClr val="009DF0"/>
      </a:dk2>
      <a:lt2>
        <a:srgbClr val="273943"/>
      </a:lt2>
      <a:accent1>
        <a:srgbClr val="05326E"/>
      </a:accent1>
      <a:accent2>
        <a:srgbClr val="125A40"/>
      </a:accent2>
      <a:accent3>
        <a:srgbClr val="ADD095"/>
      </a:accent3>
      <a:accent4>
        <a:srgbClr val="62294B"/>
      </a:accent4>
      <a:accent5>
        <a:srgbClr val="FF8855"/>
      </a:accent5>
      <a:accent6>
        <a:srgbClr val="E3E1D8"/>
      </a:accent6>
      <a:hlink>
        <a:srgbClr val="009DF0"/>
      </a:hlink>
      <a:folHlink>
        <a:srgbClr val="CCEBFD"/>
      </a:folHlink>
    </a:clrScheme>
    <a:fontScheme name="Ramboll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noProof="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Ramboll.potx" id="{9BA6AB70-38B9-4BF4-AD01-F22D546A6F4D}" vid="{AFF3D664-4A6E-4E38-81EF-08DD66B4B9C6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Skabelondesign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ck">
      <a:srgbClr val="000000"/>
    </a:custClr>
    <a:custClr name="Mountain 100%">
      <a:srgbClr val="273943"/>
    </a:custClr>
    <a:custClr name="Cyan 100%">
      <a:srgbClr val="009DF0"/>
    </a:custClr>
    <a:custClr name="Ocean 100%">
      <a:srgbClr val="05326E"/>
    </a:custClr>
    <a:custClr name="Forest 100%">
      <a:srgbClr val="125A40"/>
    </a:custClr>
    <a:custClr name="Grass 100%">
      <a:srgbClr val="ADD095"/>
    </a:custClr>
    <a:custClr name="Heath 100%">
      <a:srgbClr val="61294B"/>
    </a:custClr>
    <a:custClr name="Field 100%">
      <a:srgbClr val="FF8855"/>
    </a:custClr>
    <a:custClr name="Pebble 100%">
      <a:srgbClr val="E3E1D8"/>
    </a:custClr>
    <a:custClr name="Sand 100%">
      <a:srgbClr val="FFE682"/>
    </a:custClr>
    <a:custClr name="Text color">
      <a:srgbClr val="333333"/>
    </a:custClr>
    <a:custClr name="Mountain 80%">
      <a:srgbClr val="47525A"/>
    </a:custClr>
    <a:custClr name="Cyan 80%">
      <a:srgbClr val="33B1F3"/>
    </a:custClr>
    <a:custClr name="Ocean 80%">
      <a:srgbClr val="375B8B"/>
    </a:custClr>
    <a:custClr name="Forest 80%">
      <a:srgbClr val="417B66"/>
    </a:custClr>
    <a:custClr name="Grass 80%">
      <a:srgbClr val="BDD9AA"/>
    </a:custClr>
    <a:custClr name="Heath 80%">
      <a:srgbClr val="794B62"/>
    </a:custClr>
    <a:custClr name="Field 80%">
      <a:srgbClr val="F89D73"/>
    </a:custClr>
    <a:custClr name="Pebble 80%">
      <a:srgbClr val="E9E7E0"/>
    </a:custClr>
    <a:custClr name="Sand 80%">
      <a:srgbClr val="FCE783"/>
    </a:custClr>
    <a:custClr name="White">
      <a:srgbClr val="FFFFFF"/>
    </a:custClr>
    <a:custClr name="Mountain 60%">
      <a:srgbClr val="7D888E"/>
    </a:custClr>
    <a:custClr name="Cyan 60%">
      <a:srgbClr val="66C4F6"/>
    </a:custClr>
    <a:custClr name="Ocean 60%">
      <a:srgbClr val="6984A8"/>
    </a:custClr>
    <a:custClr name="Forest 60%">
      <a:srgbClr val="719C8C"/>
    </a:custClr>
    <a:custClr name="Grass 60%">
      <a:srgbClr val="CEE3BF"/>
    </a:custClr>
    <a:custClr name="Heath 60%">
      <a:srgbClr val="A17F93"/>
    </a:custClr>
    <a:custClr name="Field 60%">
      <a:srgbClr val="FFB899"/>
    </a:custClr>
    <a:custClr name="Pebble 60%">
      <a:srgbClr val="EEEDE8"/>
    </a:custClr>
    <a:custClr name="Sand 60%">
      <a:srgbClr val="FFFAB4"/>
    </a:custClr>
    <a:custClr name="White">
      <a:srgbClr val="FFFFFF"/>
    </a:custClr>
    <a:custClr name="Mountain 40%">
      <a:srgbClr val="D3D7D9"/>
    </a:custClr>
    <a:custClr name="Cyan 40%">
      <a:srgbClr val="CCEBFD"/>
    </a:custClr>
    <a:custClr name="Ocean 40%">
      <a:srgbClr val="CED6E3"/>
    </a:custClr>
    <a:custClr name="Forest 40%">
      <a:srgbClr val="CFDED9"/>
    </a:custClr>
    <a:custClr name="Grass 40%">
      <a:srgbClr val="EFF7EA"/>
    </a:custClr>
    <a:custClr name="Heath 40%">
      <a:srgbClr val="DFD4DA"/>
    </a:custClr>
    <a:custClr name="Field 40%">
      <a:srgbClr val="FFE7DD"/>
    </a:custClr>
    <a:custClr name="Pebble 40%">
      <a:srgbClr val="F9F9F7"/>
    </a:custClr>
    <a:custClr name="Sand 40%">
      <a:srgbClr val="FFFAE6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9A27C8BC4FF814B80B4CE83598355D9" ma:contentTypeVersion="12" ma:contentTypeDescription="Skapa ett nytt dokument." ma:contentTypeScope="" ma:versionID="5f6e71be2828399f2aaaf843449b3626">
  <xsd:schema xmlns:xsd="http://www.w3.org/2001/XMLSchema" xmlns:xs="http://www.w3.org/2001/XMLSchema" xmlns:p="http://schemas.microsoft.com/office/2006/metadata/properties" xmlns:ns2="67a593e1-5ef2-4229-8314-3b3fbeeda55a" xmlns:ns3="cbb7c6bd-507d-4033-9261-afac356a73ee" targetNamespace="http://schemas.microsoft.com/office/2006/metadata/properties" ma:root="true" ma:fieldsID="8487fa6d2371ff0b85af2e086eda5a3c" ns2:_="" ns3:_="">
    <xsd:import namespace="67a593e1-5ef2-4229-8314-3b3fbeeda55a"/>
    <xsd:import namespace="cbb7c6bd-507d-4033-9261-afac356a73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anu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593e1-5ef2-4229-8314-3b3fbeeda5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anus" ma:index="10" nillable="true" ma:displayName="Manus" ma:description="Dessa frågor kan användas i testet" ma:format="Dropdown" ma:internalName="Manus">
      <xsd:simpleType>
        <xsd:restriction base="dms:Note">
          <xsd:maxLength value="255"/>
        </xsd:restriction>
      </xsd:simpleType>
    </xsd:element>
    <xsd:element name="lcf76f155ced4ddcb4097134ff3c332f" ma:index="12" nillable="true" ma:taxonomy="true" ma:internalName="lcf76f155ced4ddcb4097134ff3c332f" ma:taxonomyFieldName="MediaServiceImageTags" ma:displayName="Bildmarkeringar" ma:readOnly="false" ma:fieldId="{5cf76f15-5ced-4ddc-b409-7134ff3c332f}" ma:taxonomyMulti="true" ma:sspId="511ca070-c001-464c-8047-b402787012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7c6bd-507d-4033-9261-afac356a73e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b6dca2a-a5f4-4f2b-81f1-874fa9fdea48}" ma:internalName="TaxCatchAll" ma:showField="CatchAllData" ma:web="cbb7c6bd-507d-4033-9261-afac356a73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7a593e1-5ef2-4229-8314-3b3fbeeda55a">
      <Terms xmlns="http://schemas.microsoft.com/office/infopath/2007/PartnerControls"/>
    </lcf76f155ced4ddcb4097134ff3c332f>
    <TaxCatchAll xmlns="cbb7c6bd-507d-4033-9261-afac356a73ee" xsi:nil="true"/>
    <Manus xmlns="67a593e1-5ef2-4229-8314-3b3fbeeda55a" xsi:nil="true"/>
  </documentManagement>
</p:properties>
</file>

<file path=customXml/itemProps1.xml><?xml version="1.0" encoding="utf-8"?>
<ds:datastoreItem xmlns:ds="http://schemas.openxmlformats.org/officeDocument/2006/customXml" ds:itemID="{DCCDD67D-7EE6-43B4-B97C-50FA9E7F6D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7a593e1-5ef2-4229-8314-3b3fbeeda55a"/>
    <ds:schemaRef ds:uri="cbb7c6bd-507d-4033-9261-afac356a73e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9F7284F-6D76-4081-B6A3-F49D96F6D5D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DDAB4BC-9B3E-4A0A-9815-E4FD75E46A90}">
  <ds:schemaRefs>
    <ds:schemaRef ds:uri="67a593e1-5ef2-4229-8314-3b3fbeeda55a"/>
    <ds:schemaRef ds:uri="cbb7c6bd-507d-4033-9261-afac356a73ee"/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</TotalTime>
  <Words>48</Words>
  <Application>Microsoft Office PowerPoint</Application>
  <PresentationFormat>Bredbild</PresentationFormat>
  <Paragraphs>29</Paragraphs>
  <Slides>1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</vt:i4>
      </vt:variant>
    </vt:vector>
  </HeadingPairs>
  <TitlesOfParts>
    <vt:vector size="7" baseType="lpstr">
      <vt:lpstr>Arial</vt:lpstr>
      <vt:lpstr>Cambria</vt:lpstr>
      <vt:lpstr>Corbel</vt:lpstr>
      <vt:lpstr>Verdana</vt:lpstr>
      <vt:lpstr>Blank</vt:lpstr>
      <vt:lpstr>think-cell Slide</vt:lpstr>
      <vt:lpstr>PowerPoint-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grid Normann Biener</dc:creator>
  <cp:lastModifiedBy>Magdalena Lindberg</cp:lastModifiedBy>
  <cp:revision>3</cp:revision>
  <dcterms:created xsi:type="dcterms:W3CDTF">2022-11-03T14:46:14Z</dcterms:created>
  <dcterms:modified xsi:type="dcterms:W3CDTF">2023-04-25T17:22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0ea7001-5c24-4702-a3ac-e436ccb02747_Enabled">
    <vt:lpwstr>true</vt:lpwstr>
  </property>
  <property fmtid="{D5CDD505-2E9C-101B-9397-08002B2CF9AE}" pid="3" name="MSIP_Label_20ea7001-5c24-4702-a3ac-e436ccb02747_SetDate">
    <vt:lpwstr>2022-11-03T14:46:14Z</vt:lpwstr>
  </property>
  <property fmtid="{D5CDD505-2E9C-101B-9397-08002B2CF9AE}" pid="4" name="MSIP_Label_20ea7001-5c24-4702-a3ac-e436ccb02747_Method">
    <vt:lpwstr>Standard</vt:lpwstr>
  </property>
  <property fmtid="{D5CDD505-2E9C-101B-9397-08002B2CF9AE}" pid="5" name="MSIP_Label_20ea7001-5c24-4702-a3ac-e436ccb02747_Name">
    <vt:lpwstr>Confidential</vt:lpwstr>
  </property>
  <property fmtid="{D5CDD505-2E9C-101B-9397-08002B2CF9AE}" pid="6" name="MSIP_Label_20ea7001-5c24-4702-a3ac-e436ccb02747_SiteId">
    <vt:lpwstr>c8823c91-be81-4f89-b024-6c3dd789c106</vt:lpwstr>
  </property>
  <property fmtid="{D5CDD505-2E9C-101B-9397-08002B2CF9AE}" pid="7" name="MSIP_Label_20ea7001-5c24-4702-a3ac-e436ccb02747_ActionId">
    <vt:lpwstr>1672aabc-4092-4a70-951a-275c163d368a</vt:lpwstr>
  </property>
  <property fmtid="{D5CDD505-2E9C-101B-9397-08002B2CF9AE}" pid="8" name="MSIP_Label_20ea7001-5c24-4702-a3ac-e436ccb02747_ContentBits">
    <vt:lpwstr>2</vt:lpwstr>
  </property>
  <property fmtid="{D5CDD505-2E9C-101B-9397-08002B2CF9AE}" pid="9" name="ContentTypeId">
    <vt:lpwstr>0x01010069A27C8BC4FF814B80B4CE83598355D9</vt:lpwstr>
  </property>
  <property fmtid="{D5CDD505-2E9C-101B-9397-08002B2CF9AE}" pid="10" name="MediaServiceImageTags">
    <vt:lpwstr/>
  </property>
</Properties>
</file>